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2"/>
  </p:notesMasterIdLst>
  <p:sldIdLst>
    <p:sldId id="256" r:id="rId2"/>
    <p:sldId id="263" r:id="rId3"/>
    <p:sldId id="273" r:id="rId4"/>
    <p:sldId id="265" r:id="rId5"/>
    <p:sldId id="264" r:id="rId6"/>
    <p:sldId id="266" r:id="rId7"/>
    <p:sldId id="267" r:id="rId8"/>
    <p:sldId id="268" r:id="rId9"/>
    <p:sldId id="274" r:id="rId10"/>
    <p:sldId id="281" r:id="rId11"/>
    <p:sldId id="292" r:id="rId12"/>
    <p:sldId id="275" r:id="rId13"/>
    <p:sldId id="279" r:id="rId14"/>
    <p:sldId id="272" r:id="rId15"/>
    <p:sldId id="280" r:id="rId16"/>
    <p:sldId id="308" r:id="rId17"/>
    <p:sldId id="307" r:id="rId18"/>
    <p:sldId id="309" r:id="rId19"/>
    <p:sldId id="313" r:id="rId20"/>
    <p:sldId id="310" r:id="rId21"/>
    <p:sldId id="311" r:id="rId22"/>
    <p:sldId id="312" r:id="rId23"/>
    <p:sldId id="314" r:id="rId24"/>
    <p:sldId id="293" r:id="rId25"/>
    <p:sldId id="287" r:id="rId26"/>
    <p:sldId id="290" r:id="rId27"/>
    <p:sldId id="291" r:id="rId28"/>
    <p:sldId id="289" r:id="rId29"/>
    <p:sldId id="270" r:id="rId30"/>
    <p:sldId id="282" r:id="rId31"/>
    <p:sldId id="283" r:id="rId32"/>
    <p:sldId id="284" r:id="rId33"/>
    <p:sldId id="286" r:id="rId34"/>
    <p:sldId id="296" r:id="rId35"/>
    <p:sldId id="297" r:id="rId36"/>
    <p:sldId id="298" r:id="rId37"/>
    <p:sldId id="299" r:id="rId38"/>
    <p:sldId id="315" r:id="rId39"/>
    <p:sldId id="316" r:id="rId40"/>
    <p:sldId id="317" r:id="rId4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5224" autoAdjust="0"/>
  </p:normalViewPr>
  <p:slideViewPr>
    <p:cSldViewPr>
      <p:cViewPr varScale="1">
        <p:scale>
          <a:sx n="56" d="100"/>
          <a:sy n="56" d="100"/>
        </p:scale>
        <p:origin x="1050" y="4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6AA110-B1F3-43AB-8398-58B66BDEF952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2426A-C199-48F2-B168-6240C7E78BE0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688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2426A-C199-48F2-B168-6240C7E78BE0}" type="slidenum">
              <a:rPr lang="en-IE" smtClean="0"/>
              <a:t>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011981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864931">
              <a:lnSpc>
                <a:spcPct val="100000"/>
              </a:lnSpc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5CAB2E-B3AF-4E0A-8642-4B89CD52DE20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1804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864931">
              <a:lnSpc>
                <a:spcPct val="100000"/>
              </a:lnSpc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5CAB2E-B3AF-4E0A-8642-4B89CD52DE20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9386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864931">
              <a:lnSpc>
                <a:spcPct val="100000"/>
              </a:lnSpc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5CAB2E-B3AF-4E0A-8642-4B89CD52DE20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4475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864931">
              <a:lnSpc>
                <a:spcPct val="100000"/>
              </a:lnSpc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5CAB2E-B3AF-4E0A-8642-4B89CD52DE20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440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10E035-3DF4-4A15-9272-486F21423BC9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175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 restricted to just these images.</a:t>
            </a:r>
            <a:r>
              <a:rPr lang="en-US" baseline="0" dirty="0" smtClean="0"/>
              <a:t>  You can also upload your own image and use that, described later in the lectur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10E035-3DF4-4A15-9272-486F21423BC9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1754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77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864931">
              <a:lnSpc>
                <a:spcPct val="100000"/>
              </a:lnSpc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5CAB2E-B3AF-4E0A-8642-4B89CD52DE20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8628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r>
              <a:rPr lang="en-US" baseline="0" dirty="0" smtClean="0"/>
              <a:t> on Windows Azure port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654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8550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654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245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540544" y="776288"/>
            <a:ext cx="8062912" cy="1470025"/>
          </a:xfrm>
        </p:spPr>
        <p:txBody>
          <a:bodyPr anchor="b">
            <a:normAutofit/>
          </a:bodyPr>
          <a:lstStyle>
            <a:lvl1pPr algn="r">
              <a:defRPr sz="440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540544" y="2250280"/>
            <a:ext cx="8062912" cy="1752600"/>
          </a:xfrm>
        </p:spPr>
        <p:txBody>
          <a:bodyPr/>
          <a:lstStyle>
            <a:lvl1pPr marL="0" marR="36576" indent="0" algn="r">
              <a:spcBef>
                <a:spcPts val="0"/>
              </a:spcBef>
              <a:buNone/>
              <a:defRPr>
                <a:ln>
                  <a:solidFill>
                    <a:schemeClr val="bg2"/>
                  </a:solidFill>
                </a:ln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1371600" y="6012656"/>
            <a:ext cx="5791200" cy="365125"/>
          </a:xfrm>
        </p:spPr>
        <p:txBody>
          <a:bodyPr tIns="0" bIns="0" anchor="t"/>
          <a:lstStyle>
            <a:lvl1pPr algn="r">
              <a:defRPr sz="1000"/>
            </a:lvl1pPr>
          </a:lstStyle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1371600" y="5650704"/>
            <a:ext cx="5791200" cy="365125"/>
          </a:xfrm>
        </p:spPr>
        <p:txBody>
          <a:bodyPr tIns="0" bIns="0" anchor="b"/>
          <a:lstStyle>
            <a:lvl1pPr algn="r">
              <a:defRPr sz="1100"/>
            </a:lvl1pPr>
          </a:lstStyle>
          <a:p>
            <a:endParaRPr lang="en-IE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392247" y="5752307"/>
            <a:ext cx="502920" cy="365125"/>
          </a:xfrm>
        </p:spPr>
        <p:txBody>
          <a:bodyPr anchor="ctr"/>
          <a:lstStyle>
            <a:lvl1pPr algn="ctr">
              <a:defRPr sz="1300">
                <a:solidFill>
                  <a:srgbClr val="FFFFFF"/>
                </a:solidFill>
              </a:defRPr>
            </a:lvl1pPr>
          </a:lstStyle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381000"/>
            <a:ext cx="1905000" cy="5486400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1000"/>
            <a:ext cx="6248400" cy="5486400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grou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762000"/>
          </a:xfrm>
          <a:prstGeom prst="rect">
            <a:avLst/>
          </a:prstGeom>
        </p:spPr>
        <p:txBody>
          <a:bodyPr vert="horz"/>
          <a:lstStyle>
            <a:lvl1pPr algn="l">
              <a:defRPr sz="3600" b="0">
                <a:solidFill>
                  <a:srgbClr val="FE5815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4166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704091" y="2794000"/>
            <a:ext cx="8058909" cy="1295400"/>
          </a:xfrm>
        </p:spPr>
        <p:txBody>
          <a:bodyPr anchor="ctr">
            <a:noAutofit/>
          </a:bodyPr>
          <a:lstStyle>
            <a:lvl1pPr algn="l">
              <a:lnSpc>
                <a:spcPct val="90000"/>
              </a:lnSpc>
              <a:defRPr sz="7200" b="0" spc="-267" baseline="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04088" y="4845344"/>
            <a:ext cx="5020764" cy="920456"/>
          </a:xfrm>
        </p:spPr>
        <p:txBody>
          <a:bodyPr anchor="ctr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300" spc="-67" baseline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  <a:effectLst/>
              </a:defRPr>
            </a:lvl1pPr>
            <a:lvl2pPr marL="609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072886" y="228601"/>
            <a:ext cx="7690114" cy="1384995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r">
              <a:buFont typeface="Arial" pitchFamily="34" charset="0"/>
              <a:buNone/>
              <a:defRPr kumimoji="0" lang="en-US" sz="14700" b="1" i="1" u="none" strike="noStrike" kern="1200" cap="none" spc="-856" normalizeH="0" baseline="0" noProof="0" dirty="0" smtClean="0">
                <a:ln w="11430"/>
                <a:gradFill>
                  <a:gsLst>
                    <a:gs pos="0">
                      <a:schemeClr val="tx1"/>
                    </a:gs>
                    <a:gs pos="88000">
                      <a:schemeClr val="tx1">
                        <a:alpha val="50000"/>
                      </a:schemeClr>
                    </a:gs>
                  </a:gsLst>
                  <a:lin ang="5400000"/>
                </a:gradFill>
                <a:effectLst/>
                <a:uLnTx/>
                <a:uFillTx/>
                <a:latin typeface="Segoe UI" pitchFamily="34" charset="0"/>
                <a:ea typeface="+mn-ea"/>
                <a:cs typeface="+mn-cs"/>
              </a:defRPr>
            </a:lvl1pPr>
          </a:lstStyle>
          <a:p>
            <a:pPr marL="0" lvl="0" indent="0" algn="r" defTabSz="1218937" rtl="0" eaLnBrk="1" latinLnBrk="0" hangingPunct="1">
              <a:lnSpc>
                <a:spcPct val="90000"/>
              </a:lnSpc>
              <a:spcBef>
                <a:spcPct val="20000"/>
              </a:spcBef>
              <a:buSzPct val="85000"/>
              <a:buFont typeface="Arial" pitchFamily="34" charset="0"/>
              <a:buNone/>
            </a:pPr>
            <a:r>
              <a:rPr lang="en-US" dirty="0" smtClean="0"/>
              <a:t>click to…</a:t>
            </a:r>
          </a:p>
        </p:txBody>
      </p:sp>
    </p:spTree>
    <p:extLst>
      <p:ext uri="{BB962C8B-B14F-4D97-AF65-F5344CB8AC3E}">
        <p14:creationId xmlns:p14="http://schemas.microsoft.com/office/powerpoint/2010/main" val="41577594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7494"/>
            <a:ext cx="8229600" cy="1399032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82808"/>
            <a:ext cx="82296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91456" y="6480048"/>
            <a:ext cx="2133600" cy="301752"/>
          </a:xfrm>
        </p:spPr>
        <p:txBody>
          <a:bodyPr/>
          <a:lstStyle/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480969"/>
            <a:ext cx="4260056" cy="300831"/>
          </a:xfrm>
        </p:spPr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955632" y="6477000"/>
            <a:ext cx="2133600" cy="304800"/>
          </a:xfrm>
        </p:spPr>
        <p:txBody>
          <a:bodyPr/>
          <a:lstStyle/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9376" y="6480969"/>
            <a:ext cx="4260056" cy="300831"/>
          </a:xfrm>
        </p:spPr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51056" y="809624"/>
            <a:ext cx="502920" cy="300831"/>
          </a:xfrm>
        </p:spPr>
        <p:txBody>
          <a:bodyPr/>
          <a:lstStyle/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1464"/>
            <a:ext cx="7239000" cy="1362075"/>
          </a:xfrm>
        </p:spPr>
        <p:txBody>
          <a:bodyPr anchor="ctr"/>
          <a:lstStyle>
            <a:lvl1pPr marL="0" algn="l">
              <a:buNone/>
              <a:defRPr sz="3600" b="1" cap="none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633536"/>
            <a:ext cx="3886200" cy="2286000"/>
          </a:xfrm>
        </p:spPr>
        <p:txBody>
          <a:bodyPr anchor="t"/>
          <a:lstStyle>
            <a:lvl1pPr marL="54864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algn="l"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22437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22437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91456" y="6480969"/>
            <a:ext cx="2133600" cy="301752"/>
          </a:xfrm>
        </p:spPr>
        <p:txBody>
          <a:bodyPr/>
          <a:lstStyle/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57200" y="6480969"/>
            <a:ext cx="4260056" cy="301752"/>
          </a:xfrm>
        </p:spPr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589520" y="6480969"/>
            <a:ext cx="502920" cy="301752"/>
          </a:xfrm>
        </p:spPr>
        <p:txBody>
          <a:bodyPr/>
          <a:lstStyle/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198" y="290732"/>
            <a:ext cx="1066800" cy="6153912"/>
          </a:xfrm>
        </p:spPr>
        <p:txBody>
          <a:bodyPr vert="vert270" anchor="b"/>
          <a:lstStyle>
            <a:lvl1pPr marL="0" algn="ctr">
              <a:defRPr sz="3300" b="1">
                <a:ln w="6350">
                  <a:solidFill>
                    <a:schemeClr val="tx1"/>
                  </a:solidFill>
                </a:ln>
                <a:solidFill>
                  <a:schemeClr val="tx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5006" y="290732"/>
            <a:ext cx="581024" cy="3017520"/>
          </a:xfrm>
          <a:solidFill>
            <a:schemeClr val="bg1"/>
          </a:solidFill>
          <a:ln w="12700">
            <a:noFill/>
          </a:ln>
        </p:spPr>
        <p:txBody>
          <a:bodyPr vert="vert270" anchor="ctr"/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1365006" y="3427124"/>
            <a:ext cx="581024" cy="3017520"/>
          </a:xfrm>
          <a:solidFill>
            <a:schemeClr val="bg1"/>
          </a:solidFill>
          <a:ln w="12700">
            <a:noFill/>
          </a:ln>
        </p:spPr>
        <p:txBody>
          <a:bodyPr vert="vert270" anchor="ctr"/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2022230" y="290732"/>
            <a:ext cx="6858000" cy="3017520"/>
          </a:xfrm>
        </p:spPr>
        <p:txBody>
          <a:bodyPr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022230" y="3427124"/>
            <a:ext cx="6858000" cy="301752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91456" y="6480969"/>
            <a:ext cx="2130552" cy="301752"/>
          </a:xfrm>
        </p:spPr>
        <p:txBody>
          <a:bodyPr/>
          <a:lstStyle/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480969"/>
            <a:ext cx="4261104" cy="301752"/>
          </a:xfrm>
        </p:spPr>
        <p:txBody>
          <a:bodyPr/>
          <a:lstStyle/>
          <a:p>
            <a:endParaRPr lang="en-I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589520" y="6483096"/>
            <a:ext cx="502920" cy="301752"/>
          </a:xfrm>
        </p:spPr>
        <p:txBody>
          <a:bodyPr/>
          <a:lstStyle>
            <a:lvl1pPr algn="ctr">
              <a:defRPr/>
            </a:lvl1pPr>
          </a:lstStyle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791456" y="6480969"/>
            <a:ext cx="2133600" cy="301752"/>
          </a:xfrm>
        </p:spPr>
        <p:txBody>
          <a:bodyPr/>
          <a:lstStyle/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57200" y="6481890"/>
            <a:ext cx="4260056" cy="300831"/>
          </a:xfrm>
        </p:spPr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589520" y="6480969"/>
            <a:ext cx="502920" cy="301752"/>
          </a:xfrm>
        </p:spPr>
        <p:txBody>
          <a:bodyPr/>
          <a:lstStyle/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456" y="367664"/>
            <a:ext cx="914400" cy="5943600"/>
          </a:xfrm>
        </p:spPr>
        <p:txBody>
          <a:bodyPr vert="vert270" anchor="b"/>
          <a:lstStyle>
            <a:lvl1pPr marL="0" marR="18288" algn="r">
              <a:spcBef>
                <a:spcPts val="0"/>
              </a:spcBef>
              <a:buNone/>
              <a:defRPr sz="2900" b="0" cap="all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1135856" y="367664"/>
            <a:ext cx="2438400" cy="5943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651250" y="320040"/>
            <a:ext cx="5276088" cy="5989320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78976" y="6556248"/>
            <a:ext cx="2133600" cy="301752"/>
          </a:xfrm>
        </p:spPr>
        <p:txBody>
          <a:bodyPr/>
          <a:lstStyle>
            <a:lvl1pPr>
              <a:defRPr sz="900"/>
            </a:lvl1pPr>
          </a:lstStyle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35856" y="6556248"/>
            <a:ext cx="5143120" cy="301752"/>
          </a:xfrm>
        </p:spPr>
        <p:txBody>
          <a:bodyPr/>
          <a:lstStyle>
            <a:lvl1pPr>
              <a:defRPr sz="9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410576" y="6556248"/>
            <a:ext cx="502920" cy="301752"/>
          </a:xfrm>
        </p:spPr>
        <p:txBody>
          <a:bodyPr/>
          <a:lstStyle>
            <a:lvl1pPr>
              <a:defRPr sz="900"/>
            </a:lvl1pPr>
          </a:lstStyle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456" y="150896"/>
            <a:ext cx="914400" cy="6400800"/>
          </a:xfrm>
        </p:spPr>
        <p:txBody>
          <a:bodyPr vert="vert270" anchor="b"/>
          <a:lstStyle>
            <a:lvl1pPr marL="0" algn="l">
              <a:buNone/>
              <a:defRPr sz="3000" b="0" cap="all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38237" y="373966"/>
            <a:ext cx="7333488" cy="5486400"/>
          </a:xfrm>
          <a:solidFill>
            <a:schemeClr val="bg2">
              <a:shade val="50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5867400"/>
            <a:ext cx="7333488" cy="685800"/>
          </a:xfrm>
          <a:solidFill>
            <a:schemeClr val="accent1">
              <a:alpha val="15000"/>
            </a:schemeClr>
          </a:solidFill>
          <a:ln>
            <a:solidFill>
              <a:schemeClr val="accent1"/>
            </a:solidFill>
            <a:miter lim="800000"/>
          </a:ln>
        </p:spPr>
        <p:txBody>
          <a:bodyPr/>
          <a:lstStyle>
            <a:lvl1pPr marL="0" indent="0">
              <a:spcBef>
                <a:spcPts val="0"/>
              </a:spcBef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108192" y="6556248"/>
            <a:ext cx="2103120" cy="301752"/>
          </a:xfrm>
        </p:spPr>
        <p:txBody>
          <a:bodyPr/>
          <a:lstStyle>
            <a:lvl1pPr>
              <a:defRPr sz="900"/>
            </a:lvl1pPr>
          </a:lstStyle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70432" y="6557169"/>
            <a:ext cx="4948072" cy="301752"/>
          </a:xfrm>
        </p:spPr>
        <p:txBody>
          <a:bodyPr/>
          <a:lstStyle>
            <a:lvl1pPr>
              <a:defRPr sz="9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17192" y="6556248"/>
            <a:ext cx="365760" cy="301752"/>
          </a:xfrm>
        </p:spPr>
        <p:txBody>
          <a:bodyPr/>
          <a:lstStyle>
            <a:lvl1pPr algn="ctr">
              <a:defRPr sz="900"/>
            </a:lvl1pPr>
          </a:lstStyle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57200" y="267494"/>
            <a:ext cx="8229600" cy="1399032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882808"/>
            <a:ext cx="8229600" cy="4572000"/>
          </a:xfrm>
          <a:prstGeom prst="rect">
            <a:avLst/>
          </a:prstGeom>
        </p:spPr>
        <p:txBody>
          <a:bodyPr vert="horz" anchor="t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4791456" y="6480969"/>
            <a:ext cx="2133600" cy="301752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 b="0">
                <a:solidFill>
                  <a:schemeClr val="tx1"/>
                </a:solidFill>
              </a:defRPr>
            </a:lvl1pPr>
          </a:lstStyle>
          <a:p>
            <a:fld id="{854F9067-663C-4734-BDA5-9D27CD567436}" type="datetimeFigureOut">
              <a:rPr lang="en-IE" smtClean="0"/>
              <a:t>12/03/2013</a:t>
            </a:fld>
            <a:endParaRPr lang="en-I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57200" y="6481890"/>
            <a:ext cx="4260056" cy="300831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</a:lstStyle>
          <a:p>
            <a:endParaRPr lang="en-IE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7589520" y="6480969"/>
            <a:ext cx="502920" cy="301752"/>
          </a:xfrm>
          <a:prstGeom prst="rect">
            <a:avLst/>
          </a:prstGeom>
        </p:spPr>
        <p:txBody>
          <a:bodyPr vert="horz" anchor="b"/>
          <a:lstStyle>
            <a:lvl1pPr algn="ctr" eaLnBrk="1" latinLnBrk="0" hangingPunct="1">
              <a:defRPr kumimoji="0" sz="1200">
                <a:solidFill>
                  <a:schemeClr val="tx1"/>
                </a:solidFill>
              </a:defRPr>
            </a:lvl1pPr>
          </a:lstStyle>
          <a:p>
            <a:fld id="{A17899D5-449B-402F-8211-93BBC91E63F4}" type="slidenum">
              <a:rPr lang="en-IE" smtClean="0"/>
              <a:t>‹#›</a:t>
            </a:fld>
            <a:endParaRPr lang="en-IE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marL="484632" algn="l" rtl="0" eaLnBrk="1" latinLnBrk="0" hangingPunct="1">
        <a:spcBef>
          <a:spcPct val="0"/>
        </a:spcBef>
        <a:buNone/>
        <a:defRPr kumimoji="0" sz="4200" kern="1200">
          <a:ln w="6350">
            <a:solidFill>
              <a:schemeClr val="accent1">
                <a:shade val="43000"/>
              </a:schemeClr>
            </a:solidFill>
          </a:ln>
          <a:solidFill>
            <a:schemeClr val="accent1">
              <a:tint val="83000"/>
              <a:satMod val="150000"/>
            </a:schemeClr>
          </a:solidFill>
          <a:effectLst>
            <a:outerShdw blurRad="26000" dist="26000" dir="145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448056" indent="-384048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"/>
        <a:defRPr kumimoji="0"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85750" algn="l" rtl="0" eaLnBrk="1" latinLnBrk="0" hangingPunct="1">
        <a:spcBef>
          <a:spcPct val="20000"/>
        </a:spcBef>
        <a:buClr>
          <a:schemeClr val="accent1"/>
        </a:buClr>
        <a:buSzPct val="95000"/>
        <a:buFont typeface="Verdana"/>
        <a:buChar char="›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06424" indent="-228600" algn="l" rtl="0" eaLnBrk="1" latinLnBrk="0" hangingPunct="1">
        <a:spcBef>
          <a:spcPct val="20000"/>
        </a:spcBef>
        <a:buClr>
          <a:schemeClr val="accent1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10312" algn="l" rtl="0" eaLnBrk="1" latinLnBrk="0" hangingPunct="1">
        <a:spcBef>
          <a:spcPct val="20000"/>
        </a:spcBef>
        <a:buClr>
          <a:schemeClr val="accent1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10312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indent="-210312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084832" indent="-210312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14600" indent="-182880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microsoft.com/office/2007/relationships/hdphoto" Target="../media/hdphoto5.wd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microsoft.com/office/2007/relationships/hdphoto" Target="../media/hdphoto4.wdp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2.emf"/><Relationship Id="rId18" Type="http://schemas.openxmlformats.org/officeDocument/2006/relationships/image" Target="../media/image7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6.png"/><Relationship Id="rId2" Type="http://schemas.openxmlformats.org/officeDocument/2006/relationships/tags" Target="../tags/tag1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4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3.jpeg"/><Relationship Id="rId3" Type="http://schemas.openxmlformats.org/officeDocument/2006/relationships/tags" Target="../tags/tag10.xml"/><Relationship Id="rId7" Type="http://schemas.openxmlformats.org/officeDocument/2006/relationships/notesSlide" Target="../notesSlides/notesSlide3.xml"/><Relationship Id="rId12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1.png"/><Relationship Id="rId5" Type="http://schemas.openxmlformats.org/officeDocument/2006/relationships/tags" Target="../tags/tag12.xml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tags" Target="../tags/tag11.xml"/><Relationship Id="rId9" Type="http://schemas.openxmlformats.org/officeDocument/2006/relationships/image" Target="../media/image2.emf"/><Relationship Id="rId1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microsoft.com/office/2007/relationships/hdphoto" Target="../media/hdphoto1.wdp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microsoft.com/office/2007/relationships/hdphoto" Target="../media/hdphoto2.wdp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76872"/>
            <a:ext cx="9144000" cy="1470025"/>
          </a:xfrm>
        </p:spPr>
        <p:txBody>
          <a:bodyPr>
            <a:normAutofit/>
          </a:bodyPr>
          <a:lstStyle/>
          <a:p>
            <a:pPr marL="0" algn="ctr"/>
            <a:r>
              <a:rPr lang="en-IE" dirty="0">
                <a:ln w="6350">
                  <a:noFill/>
                </a:ln>
                <a:solidFill>
                  <a:schemeClr val="bg1"/>
                </a:solidFill>
                <a:latin typeface="Calibri" panose="020F0502020204030204" pitchFamily="34" charset="0"/>
              </a:rPr>
              <a:t>Virtual Machines and Web </a:t>
            </a:r>
            <a:r>
              <a:rPr lang="en-IE" dirty="0" smtClean="0">
                <a:ln w="6350">
                  <a:noFill/>
                </a:ln>
                <a:solidFill>
                  <a:schemeClr val="bg1"/>
                </a:solidFill>
                <a:latin typeface="Calibri" panose="020F0502020204030204" pitchFamily="34" charset="0"/>
              </a:rPr>
              <a:t>Sites</a:t>
            </a:r>
            <a:endParaRPr lang="en-IE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271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-324544" y="2420888"/>
            <a:ext cx="9468544" cy="1655440"/>
          </a:xfrm>
        </p:spPr>
        <p:txBody>
          <a:bodyPr/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latin typeface="Calibri" panose="020F0502020204030204" pitchFamily="34" charset="0"/>
              </a:rPr>
              <a:t>Create a new Windows Server 2012 machine </a:t>
            </a:r>
            <a:endParaRPr lang="en-US" sz="4400" dirty="0">
              <a:ln w="6350">
                <a:noFill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21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20888"/>
            <a:ext cx="9144000" cy="1362075"/>
          </a:xfrm>
        </p:spPr>
        <p:txBody>
          <a:bodyPr>
            <a:normAutofit/>
          </a:bodyPr>
          <a:lstStyle/>
          <a:p>
            <a:pPr algn="ctr"/>
            <a:r>
              <a:rPr lang="en-IE" sz="4400" b="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Networks</a:t>
            </a:r>
            <a:endParaRPr lang="en-IE" sz="4400" b="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644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80728"/>
          </a:xfrm>
        </p:spPr>
        <p:txBody>
          <a:bodyPr>
            <a:noAutofit/>
          </a:bodyPr>
          <a:lstStyle/>
          <a:p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Cross-premise Connectivit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267752" y="6464369"/>
            <a:ext cx="197688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rPr>
              <a:t>IP-level connectivity 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878635" y="1623383"/>
            <a:ext cx="7618016" cy="4517257"/>
            <a:chOff x="1171208" y="1184524"/>
            <a:chExt cx="10154709" cy="4517256"/>
          </a:xfrm>
        </p:grpSpPr>
        <p:sp>
          <p:nvSpPr>
            <p:cNvPr id="63" name="Freeform 62"/>
            <p:cNvSpPr/>
            <p:nvPr/>
          </p:nvSpPr>
          <p:spPr>
            <a:xfrm rot="5400000">
              <a:off x="8500330" y="1685843"/>
              <a:ext cx="1868051" cy="2379388"/>
            </a:xfrm>
            <a:custGeom>
              <a:avLst/>
              <a:gdLst>
                <a:gd name="connsiteX0" fmla="*/ 0 w 2459333"/>
                <a:gd name="connsiteY0" fmla="*/ 0 h 658800"/>
                <a:gd name="connsiteX1" fmla="*/ 2459333 w 2459333"/>
                <a:gd name="connsiteY1" fmla="*/ 0 h 658800"/>
                <a:gd name="connsiteX2" fmla="*/ 2459333 w 2459333"/>
                <a:gd name="connsiteY2" fmla="*/ 658800 h 658800"/>
                <a:gd name="connsiteX3" fmla="*/ 0 w 2459333"/>
                <a:gd name="connsiteY3" fmla="*/ 658800 h 658800"/>
                <a:gd name="connsiteX4" fmla="*/ 0 w 2459333"/>
                <a:gd name="connsiteY4" fmla="*/ 0 h 65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9333" h="658800">
                  <a:moveTo>
                    <a:pt x="0" y="0"/>
                  </a:moveTo>
                  <a:lnTo>
                    <a:pt x="2459333" y="0"/>
                  </a:lnTo>
                  <a:lnTo>
                    <a:pt x="2459333" y="658800"/>
                  </a:lnTo>
                  <a:lnTo>
                    <a:pt x="0" y="65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9933"/>
            </a:solidFill>
            <a:ln w="12700" cap="flat" cmpd="thickThin" algn="ctr">
              <a:gradFill>
                <a:gsLst>
                  <a:gs pos="0">
                    <a:srgbClr val="FFFFFF">
                      <a:alpha val="0"/>
                    </a:srgbClr>
                  </a:gs>
                  <a:gs pos="50000">
                    <a:srgbClr val="FFFFFF"/>
                  </a:gs>
                  <a:gs pos="100000">
                    <a:srgbClr val="FFFFFF">
                      <a:alpha val="0"/>
                    </a:srgbClr>
                  </a:gs>
                </a:gsLst>
                <a:lin ang="0" scaled="0"/>
              </a:gradFill>
              <a:prstDash val="solid"/>
            </a:ln>
            <a:effectLst/>
          </p:spPr>
          <p:txBody>
            <a:bodyPr lIns="3046613" tIns="38082" rIns="76162" bIns="38082" rtlCol="0" anchor="ctr"/>
            <a:lstStyle/>
            <a:p>
              <a:pPr marL="287570" indent="-287570" defTabSz="571154">
                <a:lnSpc>
                  <a:spcPct val="90000"/>
                </a:lnSpc>
                <a:spcBef>
                  <a:spcPct val="20000"/>
                </a:spcBef>
                <a:buSzPct val="90000"/>
                <a:buBlip>
                  <a:blip r:embed="rId2"/>
                </a:buBlip>
              </a:pPr>
              <a:endPara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6" name="Freeform 55"/>
            <p:cNvSpPr/>
            <p:nvPr/>
          </p:nvSpPr>
          <p:spPr>
            <a:xfrm rot="5400000">
              <a:off x="2055100" y="1685843"/>
              <a:ext cx="1938355" cy="2379388"/>
            </a:xfrm>
            <a:custGeom>
              <a:avLst/>
              <a:gdLst>
                <a:gd name="connsiteX0" fmla="*/ 0 w 2459333"/>
                <a:gd name="connsiteY0" fmla="*/ 0 h 658800"/>
                <a:gd name="connsiteX1" fmla="*/ 2459333 w 2459333"/>
                <a:gd name="connsiteY1" fmla="*/ 0 h 658800"/>
                <a:gd name="connsiteX2" fmla="*/ 2459333 w 2459333"/>
                <a:gd name="connsiteY2" fmla="*/ 658800 h 658800"/>
                <a:gd name="connsiteX3" fmla="*/ 0 w 2459333"/>
                <a:gd name="connsiteY3" fmla="*/ 658800 h 658800"/>
                <a:gd name="connsiteX4" fmla="*/ 0 w 2459333"/>
                <a:gd name="connsiteY4" fmla="*/ 0 h 65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9333" h="658800">
                  <a:moveTo>
                    <a:pt x="0" y="0"/>
                  </a:moveTo>
                  <a:lnTo>
                    <a:pt x="2459333" y="0"/>
                  </a:lnTo>
                  <a:lnTo>
                    <a:pt x="2459333" y="658800"/>
                  </a:lnTo>
                  <a:lnTo>
                    <a:pt x="0" y="65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thickThin" algn="ctr">
              <a:gradFill>
                <a:gsLst>
                  <a:gs pos="0">
                    <a:srgbClr val="FFFFFF">
                      <a:alpha val="0"/>
                    </a:srgbClr>
                  </a:gs>
                  <a:gs pos="50000">
                    <a:srgbClr val="FFFFFF"/>
                  </a:gs>
                  <a:gs pos="100000">
                    <a:srgbClr val="FFFFFF">
                      <a:alpha val="0"/>
                    </a:srgbClr>
                  </a:gs>
                </a:gsLst>
                <a:lin ang="0" scaled="0"/>
              </a:gradFill>
              <a:prstDash val="solid"/>
            </a:ln>
            <a:effectLst/>
          </p:spPr>
          <p:txBody>
            <a:bodyPr lIns="3046613" tIns="38082" rIns="76162" bIns="38082" rtlCol="0" anchor="ctr"/>
            <a:lstStyle/>
            <a:p>
              <a:pPr marL="287570" indent="-287570" defTabSz="571154">
                <a:lnSpc>
                  <a:spcPct val="90000"/>
                </a:lnSpc>
                <a:spcBef>
                  <a:spcPct val="20000"/>
                </a:spcBef>
                <a:buSzPct val="90000"/>
                <a:buBlip>
                  <a:blip r:embed="rId2"/>
                </a:buBlip>
              </a:pPr>
              <a:endPara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1171208" y="1184524"/>
              <a:ext cx="10154709" cy="4517256"/>
              <a:chOff x="1171208" y="1184524"/>
              <a:chExt cx="10154709" cy="4517256"/>
            </a:xfrm>
          </p:grpSpPr>
          <p:sp>
            <p:nvSpPr>
              <p:cNvPr id="43" name="Freeform 42"/>
              <p:cNvSpPr/>
              <p:nvPr/>
            </p:nvSpPr>
            <p:spPr>
              <a:xfrm rot="5400000">
                <a:off x="8500331" y="3578061"/>
                <a:ext cx="1868051" cy="2379388"/>
              </a:xfrm>
              <a:custGeom>
                <a:avLst/>
                <a:gdLst>
                  <a:gd name="connsiteX0" fmla="*/ 0 w 2459333"/>
                  <a:gd name="connsiteY0" fmla="*/ 0 h 658800"/>
                  <a:gd name="connsiteX1" fmla="*/ 2459333 w 2459333"/>
                  <a:gd name="connsiteY1" fmla="*/ 0 h 658800"/>
                  <a:gd name="connsiteX2" fmla="*/ 2459333 w 2459333"/>
                  <a:gd name="connsiteY2" fmla="*/ 658800 h 658800"/>
                  <a:gd name="connsiteX3" fmla="*/ 0 w 2459333"/>
                  <a:gd name="connsiteY3" fmla="*/ 658800 h 658800"/>
                  <a:gd name="connsiteX4" fmla="*/ 0 w 2459333"/>
                  <a:gd name="connsiteY4" fmla="*/ 0 h 65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9333" h="658800">
                    <a:moveTo>
                      <a:pt x="0" y="0"/>
                    </a:moveTo>
                    <a:lnTo>
                      <a:pt x="2459333" y="0"/>
                    </a:lnTo>
                    <a:lnTo>
                      <a:pt x="2459333" y="658800"/>
                    </a:lnTo>
                    <a:lnTo>
                      <a:pt x="0" y="658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8E3D"/>
              </a:solidFill>
              <a:ln w="12700" cap="flat" cmpd="thickThin" algn="ctr">
                <a:gradFill>
                  <a:gsLst>
                    <a:gs pos="0">
                      <a:srgbClr val="FFFFFF">
                        <a:alpha val="0"/>
                      </a:srgbClr>
                    </a:gs>
                    <a:gs pos="50000">
                      <a:srgbClr val="FFFFFF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0" scaled="0"/>
                </a:gradFill>
                <a:prstDash val="solid"/>
              </a:ln>
              <a:effectLst/>
            </p:spPr>
            <p:txBody>
              <a:bodyPr lIns="3046613" tIns="38082" rIns="76162" bIns="38082" rtlCol="0" anchor="ctr"/>
              <a:lstStyle/>
              <a:p>
                <a:pPr marL="287570" indent="-287570" defTabSz="571154">
                  <a:lnSpc>
                    <a:spcPct val="90000"/>
                  </a:lnSpc>
                  <a:spcBef>
                    <a:spcPct val="20000"/>
                  </a:spcBef>
                  <a:buSzPct val="90000"/>
                  <a:buBlip>
                    <a:blip r:embed="rId2"/>
                  </a:buBlip>
                </a:pPr>
                <a:endParaRPr lang="en-US" dirty="0">
                  <a:solidFill>
                    <a:schemeClr val="tx1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45" name="Freeform 44"/>
              <p:cNvSpPr/>
              <p:nvPr/>
            </p:nvSpPr>
            <p:spPr>
              <a:xfrm rot="5400000">
                <a:off x="2081334" y="3571413"/>
                <a:ext cx="1881343" cy="2379388"/>
              </a:xfrm>
              <a:custGeom>
                <a:avLst/>
                <a:gdLst>
                  <a:gd name="connsiteX0" fmla="*/ 0 w 2459333"/>
                  <a:gd name="connsiteY0" fmla="*/ 0 h 658800"/>
                  <a:gd name="connsiteX1" fmla="*/ 2459333 w 2459333"/>
                  <a:gd name="connsiteY1" fmla="*/ 0 h 658800"/>
                  <a:gd name="connsiteX2" fmla="*/ 2459333 w 2459333"/>
                  <a:gd name="connsiteY2" fmla="*/ 658800 h 658800"/>
                  <a:gd name="connsiteX3" fmla="*/ 0 w 2459333"/>
                  <a:gd name="connsiteY3" fmla="*/ 658800 h 658800"/>
                  <a:gd name="connsiteX4" fmla="*/ 0 w 2459333"/>
                  <a:gd name="connsiteY4" fmla="*/ 0 h 65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9333" h="658800">
                    <a:moveTo>
                      <a:pt x="0" y="0"/>
                    </a:moveTo>
                    <a:lnTo>
                      <a:pt x="2459333" y="0"/>
                    </a:lnTo>
                    <a:lnTo>
                      <a:pt x="2459333" y="658800"/>
                    </a:lnTo>
                    <a:lnTo>
                      <a:pt x="0" y="658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 cmpd="thickThin" algn="ctr">
                <a:gradFill>
                  <a:gsLst>
                    <a:gs pos="0">
                      <a:srgbClr val="FFFFFF">
                        <a:alpha val="0"/>
                      </a:srgbClr>
                    </a:gs>
                    <a:gs pos="50000">
                      <a:srgbClr val="FFFFFF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0" scaled="0"/>
                </a:gradFill>
                <a:prstDash val="solid"/>
              </a:ln>
              <a:effectLst/>
            </p:spPr>
            <p:txBody>
              <a:bodyPr lIns="3046613" tIns="38082" rIns="76162" bIns="38082" rtlCol="0" anchor="ctr"/>
              <a:lstStyle/>
              <a:p>
                <a:pPr marL="287570" indent="-287570" defTabSz="571154">
                  <a:lnSpc>
                    <a:spcPct val="90000"/>
                  </a:lnSpc>
                  <a:spcBef>
                    <a:spcPct val="20000"/>
                  </a:spcBef>
                  <a:buSzPct val="90000"/>
                  <a:buBlip>
                    <a:blip r:embed="rId2"/>
                  </a:buBlip>
                </a:pPr>
                <a:endParaRPr lang="en-US" dirty="0">
                  <a:solidFill>
                    <a:schemeClr val="tx1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0" name="Freeform 49"/>
              <p:cNvSpPr/>
              <p:nvPr/>
            </p:nvSpPr>
            <p:spPr>
              <a:xfrm>
                <a:off x="1171208" y="2012550"/>
                <a:ext cx="10154709" cy="866589"/>
              </a:xfrm>
              <a:custGeom>
                <a:avLst/>
                <a:gdLst>
                  <a:gd name="connsiteX0" fmla="*/ 0 w 9144000"/>
                  <a:gd name="connsiteY0" fmla="*/ 0 h 693000"/>
                  <a:gd name="connsiteX1" fmla="*/ 9144000 w 9144000"/>
                  <a:gd name="connsiteY1" fmla="*/ 0 h 693000"/>
                  <a:gd name="connsiteX2" fmla="*/ 9144000 w 9144000"/>
                  <a:gd name="connsiteY2" fmla="*/ 693000 h 693000"/>
                  <a:gd name="connsiteX3" fmla="*/ 0 w 9144000"/>
                  <a:gd name="connsiteY3" fmla="*/ 693000 h 693000"/>
                  <a:gd name="connsiteX4" fmla="*/ 0 w 9144000"/>
                  <a:gd name="connsiteY4" fmla="*/ 0 h 69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44000" h="693000">
                    <a:moveTo>
                      <a:pt x="0" y="0"/>
                    </a:moveTo>
                    <a:lnTo>
                      <a:pt x="9144000" y="0"/>
                    </a:lnTo>
                    <a:lnTo>
                      <a:pt x="9144000" y="693000"/>
                    </a:lnTo>
                    <a:lnTo>
                      <a:pt x="0" y="69300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flat" cmpd="thickThin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lIns="0" tIns="243797" rIns="91420" bIns="45711" rtlCol="0" anchor="ctr"/>
              <a:lstStyle/>
              <a:p>
                <a:pPr marL="285625" lvl="1" defTabSz="571249"/>
                <a:endParaRPr lang="en-US" sz="1200" dirty="0">
                  <a:solidFill>
                    <a:schemeClr val="tx1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pic>
            <p:nvPicPr>
              <p:cNvPr id="51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27745" y="2219455"/>
                <a:ext cx="588528" cy="47914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2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40096" y="2219455"/>
                <a:ext cx="588528" cy="47914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3" name="Rectangle 52"/>
              <p:cNvSpPr/>
              <p:nvPr/>
            </p:nvSpPr>
            <p:spPr>
              <a:xfrm>
                <a:off x="4605155" y="2219455"/>
                <a:ext cx="3372363" cy="406241"/>
              </a:xfrm>
              <a:prstGeom prst="rect">
                <a:avLst/>
              </a:prstGeom>
            </p:spPr>
            <p:txBody>
              <a:bodyPr wrap="square" lIns="121893" tIns="60948" rIns="121893" bIns="60948">
                <a:spAutoFit/>
              </a:bodyPr>
              <a:lstStyle/>
              <a:p>
                <a:pPr algn="ctr" defTabSz="571249" fontAlgn="base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Data Synchronization</a:t>
                </a:r>
              </a:p>
              <a:p>
                <a:pPr algn="ctr" defTabSz="571249" fontAlgn="base">
                  <a:lnSpc>
                    <a:spcPct val="80000"/>
                  </a:lnSpc>
                </a:pPr>
                <a:r>
                  <a:rPr lang="en-US" sz="900" b="1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SQL Azure Data Sync</a:t>
                </a:r>
              </a:p>
            </p:txBody>
          </p:sp>
          <p:cxnSp>
            <p:nvCxnSpPr>
              <p:cNvPr id="54" name="Straight Connector 53"/>
              <p:cNvCxnSpPr/>
              <p:nvPr/>
            </p:nvCxnSpPr>
            <p:spPr>
              <a:xfrm>
                <a:off x="7084833" y="2443002"/>
                <a:ext cx="1418672" cy="0"/>
              </a:xfrm>
              <a:prstGeom prst="line">
                <a:avLst/>
              </a:prstGeom>
              <a:ln w="38100">
                <a:gradFill>
                  <a:gsLst>
                    <a:gs pos="0">
                      <a:srgbClr val="FF0000"/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flipH="1">
                <a:off x="4008556" y="2443002"/>
                <a:ext cx="1483384" cy="0"/>
              </a:xfrm>
              <a:prstGeom prst="line">
                <a:avLst/>
              </a:prstGeom>
              <a:ln w="38100">
                <a:gradFill>
                  <a:gsLst>
                    <a:gs pos="0">
                      <a:srgbClr val="2D8FD1"/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Freeform 56"/>
              <p:cNvSpPr/>
              <p:nvPr/>
            </p:nvSpPr>
            <p:spPr>
              <a:xfrm>
                <a:off x="1171208" y="2953844"/>
                <a:ext cx="10154709" cy="866589"/>
              </a:xfrm>
              <a:custGeom>
                <a:avLst/>
                <a:gdLst>
                  <a:gd name="connsiteX0" fmla="*/ 0 w 9144000"/>
                  <a:gd name="connsiteY0" fmla="*/ 0 h 693000"/>
                  <a:gd name="connsiteX1" fmla="*/ 9144000 w 9144000"/>
                  <a:gd name="connsiteY1" fmla="*/ 0 h 693000"/>
                  <a:gd name="connsiteX2" fmla="*/ 9144000 w 9144000"/>
                  <a:gd name="connsiteY2" fmla="*/ 693000 h 693000"/>
                  <a:gd name="connsiteX3" fmla="*/ 0 w 9144000"/>
                  <a:gd name="connsiteY3" fmla="*/ 693000 h 693000"/>
                  <a:gd name="connsiteX4" fmla="*/ 0 w 9144000"/>
                  <a:gd name="connsiteY4" fmla="*/ 0 h 69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44000" h="693000">
                    <a:moveTo>
                      <a:pt x="0" y="0"/>
                    </a:moveTo>
                    <a:lnTo>
                      <a:pt x="9144000" y="0"/>
                    </a:lnTo>
                    <a:lnTo>
                      <a:pt x="9144000" y="693000"/>
                    </a:lnTo>
                    <a:lnTo>
                      <a:pt x="0" y="69300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flat" cmpd="thickThin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lIns="0" tIns="243797" rIns="91420" bIns="45711" rtlCol="0" anchor="ctr"/>
              <a:lstStyle/>
              <a:p>
                <a:pPr marL="285625" lvl="1" defTabSz="571249"/>
                <a:endParaRPr lang="en-US" sz="1200" dirty="0">
                  <a:solidFill>
                    <a:schemeClr val="tx1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pic>
            <p:nvPicPr>
              <p:cNvPr id="58" name="Picture 4"/>
              <p:cNvPicPr>
                <a:picLocks noChangeAspect="1" noChangeArrowheads="1"/>
              </p:cNvPicPr>
              <p:nvPr/>
            </p:nvPicPr>
            <p:blipFill>
              <a:blip r:embed="rId4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39078" y="3125523"/>
                <a:ext cx="565856" cy="5394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9" name="Picture 4"/>
              <p:cNvPicPr>
                <a:picLocks noChangeAspect="1" noChangeArrowheads="1"/>
              </p:cNvPicPr>
              <p:nvPr/>
            </p:nvPicPr>
            <p:blipFill>
              <a:blip r:embed="rId4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51429" y="3125523"/>
                <a:ext cx="565856" cy="5394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60" name="Rectangle 59"/>
              <p:cNvSpPr/>
              <p:nvPr/>
            </p:nvSpPr>
            <p:spPr>
              <a:xfrm>
                <a:off x="4605155" y="3144336"/>
                <a:ext cx="3372363" cy="578596"/>
              </a:xfrm>
              <a:prstGeom prst="rect">
                <a:avLst/>
              </a:prstGeom>
            </p:spPr>
            <p:txBody>
              <a:bodyPr wrap="square" lIns="121893" tIns="60948" rIns="121893" bIns="60948">
                <a:spAutoFit/>
              </a:bodyPr>
              <a:lstStyle/>
              <a:p>
                <a:pPr algn="ctr" defTabSz="571249" fontAlgn="base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Application-layer </a:t>
                </a:r>
              </a:p>
              <a:p>
                <a:pPr algn="ctr" defTabSz="571249" fontAlgn="base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Connectivity &amp; Messaging </a:t>
                </a:r>
              </a:p>
              <a:p>
                <a:pPr algn="ctr" defTabSz="571249" fontAlgn="base">
                  <a:lnSpc>
                    <a:spcPct val="80000"/>
                  </a:lnSpc>
                </a:pPr>
                <a:r>
                  <a:rPr lang="en-US" sz="900" b="1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Service Bus</a:t>
                </a:r>
              </a:p>
            </p:txBody>
          </p:sp>
          <p:cxnSp>
            <p:nvCxnSpPr>
              <p:cNvPr id="61" name="Straight Connector 60"/>
              <p:cNvCxnSpPr/>
              <p:nvPr/>
            </p:nvCxnSpPr>
            <p:spPr>
              <a:xfrm>
                <a:off x="7084833" y="3399236"/>
                <a:ext cx="1418672" cy="0"/>
              </a:xfrm>
              <a:prstGeom prst="line">
                <a:avLst/>
              </a:prstGeom>
              <a:ln w="38100">
                <a:gradFill>
                  <a:gsLst>
                    <a:gs pos="0">
                      <a:srgbClr val="FF0000"/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>
              <a:xfrm flipH="1">
                <a:off x="4008556" y="3399236"/>
                <a:ext cx="1483384" cy="0"/>
              </a:xfrm>
              <a:prstGeom prst="line">
                <a:avLst/>
              </a:prstGeom>
              <a:ln w="38100">
                <a:gradFill>
                  <a:gsLst>
                    <a:gs pos="0">
                      <a:srgbClr val="2D8FD1"/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Freeform 68"/>
              <p:cNvSpPr/>
              <p:nvPr/>
            </p:nvSpPr>
            <p:spPr>
              <a:xfrm>
                <a:off x="1171208" y="3903855"/>
                <a:ext cx="10154709" cy="866589"/>
              </a:xfrm>
              <a:custGeom>
                <a:avLst/>
                <a:gdLst>
                  <a:gd name="connsiteX0" fmla="*/ 0 w 9144000"/>
                  <a:gd name="connsiteY0" fmla="*/ 0 h 693000"/>
                  <a:gd name="connsiteX1" fmla="*/ 9144000 w 9144000"/>
                  <a:gd name="connsiteY1" fmla="*/ 0 h 693000"/>
                  <a:gd name="connsiteX2" fmla="*/ 9144000 w 9144000"/>
                  <a:gd name="connsiteY2" fmla="*/ 693000 h 693000"/>
                  <a:gd name="connsiteX3" fmla="*/ 0 w 9144000"/>
                  <a:gd name="connsiteY3" fmla="*/ 693000 h 693000"/>
                  <a:gd name="connsiteX4" fmla="*/ 0 w 9144000"/>
                  <a:gd name="connsiteY4" fmla="*/ 0 h 69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44000" h="693000">
                    <a:moveTo>
                      <a:pt x="0" y="0"/>
                    </a:moveTo>
                    <a:lnTo>
                      <a:pt x="9144000" y="0"/>
                    </a:lnTo>
                    <a:lnTo>
                      <a:pt x="9144000" y="693000"/>
                    </a:lnTo>
                    <a:lnTo>
                      <a:pt x="0" y="69300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flat" cmpd="thickThin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lIns="0" tIns="243797" rIns="91420" bIns="45711" rtlCol="0" anchor="ctr"/>
              <a:lstStyle/>
              <a:p>
                <a:pPr marL="285625" lvl="1" defTabSz="571249"/>
                <a:endParaRPr lang="en-US" sz="1200" dirty="0">
                  <a:solidFill>
                    <a:schemeClr val="tx1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4605155" y="4089262"/>
                <a:ext cx="3372363" cy="578596"/>
              </a:xfrm>
              <a:prstGeom prst="rect">
                <a:avLst/>
              </a:prstGeom>
            </p:spPr>
            <p:txBody>
              <a:bodyPr wrap="square" lIns="121893" tIns="60948" rIns="121893" bIns="60948">
                <a:spAutoFit/>
              </a:bodyPr>
              <a:lstStyle/>
              <a:p>
                <a:pPr algn="ctr" defTabSz="571249" fontAlgn="base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Secure Machine-to-Machine Network Connectivity</a:t>
                </a:r>
                <a:r>
                  <a:rPr lang="en-US" sz="7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/>
                </a:r>
                <a:br>
                  <a:rPr lang="en-US" sz="7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</a:br>
                <a:r>
                  <a:rPr lang="en-US" sz="900" b="1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Windows Azure Connect</a:t>
                </a:r>
                <a:endParaRPr lang="en-US" b="1" dirty="0">
                  <a:solidFill>
                    <a:schemeClr val="tx1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71" name="Straight Connector 70"/>
              <p:cNvCxnSpPr/>
              <p:nvPr/>
            </p:nvCxnSpPr>
            <p:spPr>
              <a:xfrm>
                <a:off x="7084833" y="4364832"/>
                <a:ext cx="1418672" cy="0"/>
              </a:xfrm>
              <a:prstGeom prst="line">
                <a:avLst/>
              </a:prstGeom>
              <a:ln w="38100">
                <a:gradFill>
                  <a:gsLst>
                    <a:gs pos="0">
                      <a:srgbClr val="FF0000"/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/>
            </p:nvCxnSpPr>
            <p:spPr>
              <a:xfrm flipH="1">
                <a:off x="4008556" y="4364832"/>
                <a:ext cx="1483384" cy="0"/>
              </a:xfrm>
              <a:prstGeom prst="line">
                <a:avLst/>
              </a:prstGeom>
              <a:ln w="38100">
                <a:gradFill>
                  <a:gsLst>
                    <a:gs pos="0">
                      <a:srgbClr val="2D8FD1"/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6" name="Picture 3" descr="C:\Users\adi\Desktop\DVD_ART36\Artwork_Imagery\Icons - Illustrations\_ SUPER VISTA STYLE\server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51429" y="4054007"/>
                <a:ext cx="624673" cy="5662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2" name="Freeform 91"/>
              <p:cNvSpPr/>
              <p:nvPr/>
            </p:nvSpPr>
            <p:spPr>
              <a:xfrm>
                <a:off x="1171208" y="4835189"/>
                <a:ext cx="10154709" cy="866590"/>
              </a:xfrm>
              <a:custGeom>
                <a:avLst/>
                <a:gdLst>
                  <a:gd name="connsiteX0" fmla="*/ 0 w 9144000"/>
                  <a:gd name="connsiteY0" fmla="*/ 0 h 693000"/>
                  <a:gd name="connsiteX1" fmla="*/ 9144000 w 9144000"/>
                  <a:gd name="connsiteY1" fmla="*/ 0 h 693000"/>
                  <a:gd name="connsiteX2" fmla="*/ 9144000 w 9144000"/>
                  <a:gd name="connsiteY2" fmla="*/ 693000 h 693000"/>
                  <a:gd name="connsiteX3" fmla="*/ 0 w 9144000"/>
                  <a:gd name="connsiteY3" fmla="*/ 693000 h 693000"/>
                  <a:gd name="connsiteX4" fmla="*/ 0 w 9144000"/>
                  <a:gd name="connsiteY4" fmla="*/ 0 h 69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44000" h="693000">
                    <a:moveTo>
                      <a:pt x="0" y="0"/>
                    </a:moveTo>
                    <a:lnTo>
                      <a:pt x="9144000" y="0"/>
                    </a:lnTo>
                    <a:lnTo>
                      <a:pt x="9144000" y="693000"/>
                    </a:lnTo>
                    <a:lnTo>
                      <a:pt x="0" y="69300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flat" cmpd="thickThin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lIns="0" tIns="243797" rIns="91420" bIns="45711" rtlCol="0" anchor="ctr"/>
              <a:lstStyle/>
              <a:p>
                <a:pPr marL="285625" lvl="1" defTabSz="571249"/>
                <a:endParaRPr lang="en-US" sz="1200" dirty="0">
                  <a:solidFill>
                    <a:schemeClr val="tx1">
                      <a:lumMod val="50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3" name="Rectangle 92"/>
              <p:cNvSpPr/>
              <p:nvPr/>
            </p:nvSpPr>
            <p:spPr>
              <a:xfrm>
                <a:off x="4605155" y="5025683"/>
                <a:ext cx="3372363" cy="578596"/>
              </a:xfrm>
              <a:prstGeom prst="rect">
                <a:avLst/>
              </a:prstGeom>
            </p:spPr>
            <p:txBody>
              <a:bodyPr wrap="square" lIns="121893" tIns="60948" rIns="121893" bIns="60948">
                <a:spAutoFit/>
              </a:bodyPr>
              <a:lstStyle/>
              <a:p>
                <a:pPr algn="ctr" defTabSz="571249" fontAlgn="base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Secure Site-to-Site </a:t>
                </a:r>
              </a:p>
              <a:p>
                <a:pPr algn="ctr" defTabSz="571249" fontAlgn="base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Network Connectivity</a:t>
                </a:r>
              </a:p>
              <a:p>
                <a:pPr algn="ctr" defTabSz="571249" fontAlgn="base">
                  <a:lnSpc>
                    <a:spcPct val="80000"/>
                  </a:lnSpc>
                </a:pPr>
                <a:r>
                  <a:rPr lang="en-US" sz="900" b="1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Windows Azure Virtual Network</a:t>
                </a:r>
              </a:p>
            </p:txBody>
          </p:sp>
          <p:cxnSp>
            <p:nvCxnSpPr>
              <p:cNvPr id="94" name="Straight Connector 93"/>
              <p:cNvCxnSpPr/>
              <p:nvPr/>
            </p:nvCxnSpPr>
            <p:spPr>
              <a:xfrm>
                <a:off x="7101596" y="5317334"/>
                <a:ext cx="1418672" cy="0"/>
              </a:xfrm>
              <a:prstGeom prst="line">
                <a:avLst/>
              </a:prstGeom>
              <a:ln w="38100">
                <a:gradFill>
                  <a:gsLst>
                    <a:gs pos="0">
                      <a:srgbClr val="FF0000"/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/>
            </p:nvCxnSpPr>
            <p:spPr>
              <a:xfrm flipH="1">
                <a:off x="4025319" y="5317334"/>
                <a:ext cx="1483384" cy="0"/>
              </a:xfrm>
              <a:prstGeom prst="line">
                <a:avLst/>
              </a:prstGeom>
              <a:ln w="38100">
                <a:gradFill>
                  <a:gsLst>
                    <a:gs pos="0">
                      <a:schemeClr val="accent6"/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5" name="Group 74"/>
              <p:cNvGrpSpPr/>
              <p:nvPr/>
            </p:nvGrpSpPr>
            <p:grpSpPr>
              <a:xfrm>
                <a:off x="8906807" y="4968438"/>
                <a:ext cx="1055105" cy="600089"/>
                <a:chOff x="2601582" y="2848856"/>
                <a:chExt cx="1266456" cy="720107"/>
              </a:xfrm>
            </p:grpSpPr>
            <p:grpSp>
              <p:nvGrpSpPr>
                <p:cNvPr id="85" name="Group 84"/>
                <p:cNvGrpSpPr/>
                <p:nvPr/>
              </p:nvGrpSpPr>
              <p:grpSpPr>
                <a:xfrm>
                  <a:off x="2601582" y="2848856"/>
                  <a:ext cx="1266456" cy="720107"/>
                  <a:chOff x="2601582" y="2848856"/>
                  <a:chExt cx="1266456" cy="720107"/>
                </a:xfrm>
              </p:grpSpPr>
              <p:pic>
                <p:nvPicPr>
                  <p:cNvPr id="88" name="Picture 3" descr="C:\Users\adi\Desktop\DVD_ART36\Artwork_Imagery\Icons - Illustrations\_ SUPER VISTA STYLE\server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01582" y="2848856"/>
                    <a:ext cx="749803" cy="67954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89" name="Picture 3" descr="C:\Users\adi\Desktop\DVD_ART36\Artwork_Imagery\Icons - Illustrations\_ SUPER VISTA STYLE\server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754815" y="2862378"/>
                    <a:ext cx="749803" cy="67954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90" name="Picture 3" descr="C:\Users\adi\Desktop\DVD_ART36\Artwork_Imagery\Icons - Illustrations\_ SUPER VISTA STYLE\server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932457" y="2875901"/>
                    <a:ext cx="749803" cy="67954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91" name="Picture 3" descr="C:\Users\adi\Desktop\DVD_ART36\Artwork_Imagery\Icons - Illustrations\_ SUPER VISTA STYLE\server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18235" y="2889423"/>
                    <a:ext cx="749803" cy="67954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86" name="Picture 85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56597" y="3021921"/>
                  <a:ext cx="409773" cy="460461"/>
                </a:xfrm>
                <a:prstGeom prst="rect">
                  <a:avLst/>
                </a:prstGeom>
              </p:spPr>
            </p:pic>
            <p:pic>
              <p:nvPicPr>
                <p:cNvPr id="87" name="Picture 86" descr="app icon.png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2894012" y="3127461"/>
                  <a:ext cx="253762" cy="301539"/>
                </a:xfrm>
                <a:prstGeom prst="rect">
                  <a:avLst/>
                </a:prstGeom>
              </p:spPr>
            </p:pic>
          </p:grpSp>
          <p:sp>
            <p:nvSpPr>
              <p:cNvPr id="7" name="Rectangle 6"/>
              <p:cNvSpPr/>
              <p:nvPr/>
            </p:nvSpPr>
            <p:spPr bwMode="auto">
              <a:xfrm>
                <a:off x="1949963" y="1186132"/>
                <a:ext cx="2194560" cy="612648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495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5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CLOUD</a:t>
                </a:r>
              </a:p>
            </p:txBody>
          </p:sp>
          <p:sp>
            <p:nvSpPr>
              <p:cNvPr id="96" name="Rectangle 95"/>
              <p:cNvSpPr/>
              <p:nvPr/>
            </p:nvSpPr>
            <p:spPr bwMode="auto">
              <a:xfrm>
                <a:off x="8337080" y="1184524"/>
                <a:ext cx="2194560" cy="612648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495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500" dirty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ENTERPRISE</a:t>
                </a:r>
              </a:p>
            </p:txBody>
          </p:sp>
          <p:pic>
            <p:nvPicPr>
              <p:cNvPr id="97" name="Picture 2" descr="C:\Users\chrisw\Desktop\Cloud Services 3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black">
              <a:xfrm>
                <a:off x="2391813" y="3891887"/>
                <a:ext cx="841094" cy="5797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8" name="Picture 3" descr="C:\Users\adi\Desktop\DVD_ART36\Artwork_Imagery\Icons - Illustrations\_ SUPER VISTA STYLE\server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34853" y="4133055"/>
                <a:ext cx="624673" cy="5662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8" name="Picture 2" descr="C:\Users\chrisw\Desktop\Cloud Services 3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black">
              <a:xfrm>
                <a:off x="2364517" y="4822760"/>
                <a:ext cx="841094" cy="5797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00" name="Group 99"/>
              <p:cNvGrpSpPr/>
              <p:nvPr/>
            </p:nvGrpSpPr>
            <p:grpSpPr>
              <a:xfrm>
                <a:off x="2678058" y="4957169"/>
                <a:ext cx="1055105" cy="600089"/>
                <a:chOff x="2601582" y="2848856"/>
                <a:chExt cx="1266456" cy="720107"/>
              </a:xfrm>
            </p:grpSpPr>
            <p:grpSp>
              <p:nvGrpSpPr>
                <p:cNvPr id="101" name="Group 100"/>
                <p:cNvGrpSpPr/>
                <p:nvPr/>
              </p:nvGrpSpPr>
              <p:grpSpPr>
                <a:xfrm>
                  <a:off x="2601582" y="2848856"/>
                  <a:ext cx="1266456" cy="720107"/>
                  <a:chOff x="2601582" y="2848856"/>
                  <a:chExt cx="1266456" cy="720107"/>
                </a:xfrm>
              </p:grpSpPr>
              <p:pic>
                <p:nvPicPr>
                  <p:cNvPr id="104" name="Picture 3" descr="C:\Users\adi\Desktop\DVD_ART36\Artwork_Imagery\Icons - Illustrations\_ SUPER VISTA STYLE\server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01582" y="2848856"/>
                    <a:ext cx="749803" cy="67954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05" name="Picture 3" descr="C:\Users\adi\Desktop\DVD_ART36\Artwork_Imagery\Icons - Illustrations\_ SUPER VISTA STYLE\server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754815" y="2862378"/>
                    <a:ext cx="749803" cy="67954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06" name="Picture 3" descr="C:\Users\adi\Desktop\DVD_ART36\Artwork_Imagery\Icons - Illustrations\_ SUPER VISTA STYLE\server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932457" y="2875901"/>
                    <a:ext cx="749803" cy="67954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07" name="Picture 3" descr="C:\Users\adi\Desktop\DVD_ART36\Artwork_Imagery\Icons - Illustrations\_ SUPER VISTA STYLE\server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18235" y="2889423"/>
                    <a:ext cx="749803" cy="67954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102" name="Picture 101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56597" y="3021921"/>
                  <a:ext cx="409773" cy="460461"/>
                </a:xfrm>
                <a:prstGeom prst="rect">
                  <a:avLst/>
                </a:prstGeom>
              </p:spPr>
            </p:pic>
            <p:pic>
              <p:nvPicPr>
                <p:cNvPr id="103" name="Picture 102" descr="app icon.png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2894012" y="3127461"/>
                  <a:ext cx="253762" cy="30153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3" name="Rounded Rectangle 2"/>
          <p:cNvSpPr/>
          <p:nvPr/>
        </p:nvSpPr>
        <p:spPr bwMode="auto">
          <a:xfrm>
            <a:off x="818866" y="4259292"/>
            <a:ext cx="7429500" cy="2165503"/>
          </a:xfrm>
          <a:prstGeom prst="roundRect">
            <a:avLst/>
          </a:prstGeom>
          <a:noFill/>
          <a:ln>
            <a:solidFill>
              <a:srgbClr val="2D8FD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8568" tIns="34285" rIns="68568" bIns="34285" numCol="1" rtlCol="0" anchor="ctr" anchorCtr="0" compatLnSpc="1">
            <a:prstTxWarp prst="textNoShape">
              <a:avLst/>
            </a:prstTxWarp>
          </a:bodyPr>
          <a:lstStyle/>
          <a:p>
            <a:pPr algn="ctr" defTabSz="571084"/>
            <a:endParaRPr lang="en-US" sz="11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23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09" y="47990"/>
            <a:ext cx="9180512" cy="1399032"/>
          </a:xfrm>
        </p:spPr>
        <p:txBody>
          <a:bodyPr>
            <a:noAutofit/>
          </a:bodyPr>
          <a:lstStyle/>
          <a:p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oes Your App Need a Virtual Network?</a:t>
            </a:r>
            <a:endParaRPr lang="en-IE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514755"/>
            <a:ext cx="8003232" cy="4858560"/>
          </a:xfrm>
        </p:spPr>
        <p:txBody>
          <a:bodyPr>
            <a:normAutofit fontScale="62500" lnSpcReduction="20000"/>
          </a:bodyPr>
          <a:lstStyle/>
          <a:p>
            <a:r>
              <a:rPr lang="en-US" sz="3400" dirty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Persistent IP Address Requirements</a:t>
            </a:r>
          </a:p>
          <a:p>
            <a:pPr lvl="1"/>
            <a:r>
              <a:rPr lang="en-US" sz="2900" dirty="0">
                <a:solidFill>
                  <a:schemeClr val="bg1"/>
                </a:solidFill>
                <a:latin typeface="Calibri" panose="020F0502020204030204" pitchFamily="34" charset="0"/>
              </a:rPr>
              <a:t>Virtual Machines deployed into a virtual network have an infinite DHCP </a:t>
            </a:r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lease</a:t>
            </a:r>
            <a:endParaRPr lang="en-US" sz="29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US" sz="1000" dirty="0">
              <a:solidFill>
                <a:schemeClr val="bg1"/>
              </a:solidFill>
              <a:latin typeface="Calibri" panose="020F0502020204030204" pitchFamily="34" charset="0"/>
              <a:cs typeface="Segoe UI Light" pitchFamily="34" charset="0"/>
            </a:endParaRPr>
          </a:p>
          <a:p>
            <a:r>
              <a:rPr lang="en-US" sz="3400" dirty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Hybrid On-Premises Cloud Apps</a:t>
            </a:r>
          </a:p>
          <a:p>
            <a:pPr lvl="1"/>
            <a:r>
              <a:rPr lang="en-US" sz="2900" dirty="0">
                <a:solidFill>
                  <a:schemeClr val="bg1"/>
                </a:solidFill>
                <a:latin typeface="Calibri" panose="020F0502020204030204" pitchFamily="34" charset="0"/>
              </a:rPr>
              <a:t>Requirement for connectivity between your data center and the public </a:t>
            </a:r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loud</a:t>
            </a:r>
            <a:endParaRPr lang="en-US" sz="29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US" sz="1000" dirty="0">
              <a:solidFill>
                <a:schemeClr val="bg1"/>
              </a:solidFill>
              <a:latin typeface="Calibri" panose="020F0502020204030204" pitchFamily="34" charset="0"/>
              <a:cs typeface="Segoe UI Light" pitchFamily="34" charset="0"/>
            </a:endParaRPr>
          </a:p>
          <a:p>
            <a:r>
              <a:rPr lang="en-US" sz="3400" dirty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Connectivity between cloud services. </a:t>
            </a:r>
          </a:p>
          <a:p>
            <a:pPr lvl="1"/>
            <a:r>
              <a:rPr lang="en-US" sz="2900" dirty="0">
                <a:solidFill>
                  <a:schemeClr val="bg1"/>
                </a:solidFill>
                <a:latin typeface="Calibri" panose="020F0502020204030204" pitchFamily="34" charset="0"/>
              </a:rPr>
              <a:t>Deploying Active Directory in the Cloud or connecting a </a:t>
            </a:r>
            <a:r>
              <a:rPr lang="en-US" sz="2900" dirty="0" err="1">
                <a:solidFill>
                  <a:schemeClr val="bg1"/>
                </a:solidFill>
                <a:latin typeface="Calibri" panose="020F0502020204030204" pitchFamily="34" charset="0"/>
              </a:rPr>
              <a:t>PaaS</a:t>
            </a:r>
            <a:r>
              <a:rPr lang="en-US" sz="2900" dirty="0">
                <a:solidFill>
                  <a:schemeClr val="bg1"/>
                </a:solidFill>
                <a:latin typeface="Calibri" panose="020F0502020204030204" pitchFamily="34" charset="0"/>
              </a:rPr>
              <a:t> to </a:t>
            </a:r>
            <a:r>
              <a:rPr lang="en-US" sz="2900" dirty="0" err="1">
                <a:solidFill>
                  <a:schemeClr val="bg1"/>
                </a:solidFill>
                <a:latin typeface="Calibri" panose="020F0502020204030204" pitchFamily="34" charset="0"/>
              </a:rPr>
              <a:t>IaaS</a:t>
            </a:r>
            <a:r>
              <a:rPr lang="en-US" sz="29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ervice</a:t>
            </a:r>
          </a:p>
          <a:p>
            <a:pPr lvl="1"/>
            <a:endParaRPr lang="en-US" sz="10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IE" sz="3300" dirty="0">
                <a:solidFill>
                  <a:schemeClr val="bg1"/>
                </a:solidFill>
                <a:latin typeface="Calibri" panose="020F0502020204030204" pitchFamily="34" charset="0"/>
              </a:rPr>
              <a:t>Enterprise Identity and Access Control</a:t>
            </a:r>
          </a:p>
          <a:p>
            <a:pPr lvl="1"/>
            <a:r>
              <a:rPr lang="en-IE" sz="2900" dirty="0">
                <a:solidFill>
                  <a:schemeClr val="bg1"/>
                </a:solidFill>
                <a:latin typeface="Calibri" panose="020F0502020204030204" pitchFamily="34" charset="0"/>
              </a:rPr>
              <a:t>Manage identity and access control with on-premise resources </a:t>
            </a:r>
            <a:br>
              <a:rPr lang="en-IE" sz="29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IE" sz="2900" dirty="0">
                <a:solidFill>
                  <a:schemeClr val="bg1"/>
                </a:solidFill>
                <a:latin typeface="Calibri" panose="020F0502020204030204" pitchFamily="34" charset="0"/>
              </a:rPr>
              <a:t>(on-premises Active Directory)</a:t>
            </a:r>
            <a:br>
              <a:rPr lang="en-IE" sz="29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endParaRPr lang="en-IE" sz="1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IE" sz="3300" dirty="0">
                <a:solidFill>
                  <a:schemeClr val="bg1"/>
                </a:solidFill>
                <a:latin typeface="Calibri" panose="020F0502020204030204" pitchFamily="34" charset="0"/>
              </a:rPr>
              <a:t>Monitoring and Management</a:t>
            </a:r>
          </a:p>
          <a:p>
            <a:pPr lvl="1"/>
            <a:r>
              <a:rPr lang="en-IE" sz="2900" dirty="0">
                <a:solidFill>
                  <a:schemeClr val="bg1"/>
                </a:solidFill>
                <a:latin typeface="Calibri" panose="020F0502020204030204" pitchFamily="34" charset="0"/>
              </a:rPr>
              <a:t>Remote monitoring and trouble-shooting of  resources </a:t>
            </a:r>
            <a:br>
              <a:rPr lang="en-IE" sz="29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IE" sz="2900" dirty="0">
                <a:solidFill>
                  <a:schemeClr val="bg1"/>
                </a:solidFill>
                <a:latin typeface="Calibri" panose="020F0502020204030204" pitchFamily="34" charset="0"/>
              </a:rPr>
              <a:t>running in Windows Azure</a:t>
            </a:r>
          </a:p>
          <a:p>
            <a:endParaRPr lang="en-US" sz="33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4118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Arc 52"/>
          <p:cNvSpPr/>
          <p:nvPr/>
        </p:nvSpPr>
        <p:spPr>
          <a:xfrm>
            <a:off x="2423689" y="1628800"/>
            <a:ext cx="5343308" cy="6869373"/>
          </a:xfrm>
          <a:prstGeom prst="arc">
            <a:avLst>
              <a:gd name="adj1" fmla="val 16170703"/>
              <a:gd name="adj2" fmla="val 393691"/>
            </a:avLst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lIns="76152" tIns="38074" rIns="76152" bIns="38074" rtlCol="0" anchor="ctr"/>
          <a:lstStyle/>
          <a:p>
            <a:pPr algn="ctr" defTabSz="913903"/>
            <a:endParaRPr lang="en-US" sz="17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Right Arrow 53"/>
          <p:cNvSpPr/>
          <p:nvPr/>
        </p:nvSpPr>
        <p:spPr bwMode="auto">
          <a:xfrm rot="20969977">
            <a:off x="6810128" y="4909751"/>
            <a:ext cx="949396" cy="675414"/>
          </a:xfrm>
          <a:prstGeom prst="rightArrow">
            <a:avLst/>
          </a:prstGeom>
          <a:solidFill>
            <a:schemeClr val="accent2"/>
          </a:solidFill>
          <a:ln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149" tIns="38074" rIns="76149" bIns="38074" numCol="1" rtlCol="0" anchor="ctr" anchorCtr="0" compatLnSpc="1">
            <a:prstTxWarp prst="textNoShape">
              <a:avLst/>
            </a:prstTxWarp>
          </a:bodyPr>
          <a:lstStyle/>
          <a:p>
            <a:pPr algn="ctr" defTabSz="761277"/>
            <a:endParaRPr lang="en-US" sz="15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5" name="Right Arrow 54"/>
          <p:cNvSpPr/>
          <p:nvPr/>
        </p:nvSpPr>
        <p:spPr bwMode="auto">
          <a:xfrm rot="17021494">
            <a:off x="4518771" y="2248109"/>
            <a:ext cx="1204635" cy="501194"/>
          </a:xfrm>
          <a:prstGeom prst="rightArrow">
            <a:avLst/>
          </a:prstGeom>
          <a:solidFill>
            <a:schemeClr val="accent2"/>
          </a:solidFill>
          <a:ln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149" tIns="38074" rIns="76149" bIns="38074" numCol="1" rtlCol="0" anchor="ctr" anchorCtr="0" compatLnSpc="1">
            <a:prstTxWarp prst="textNoShape">
              <a:avLst/>
            </a:prstTxWarp>
          </a:bodyPr>
          <a:lstStyle/>
          <a:p>
            <a:pPr algn="ctr" defTabSz="761277"/>
            <a:endParaRPr lang="en-US" sz="15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6" name="Cloud 55"/>
          <p:cNvSpPr/>
          <p:nvPr/>
        </p:nvSpPr>
        <p:spPr>
          <a:xfrm>
            <a:off x="5599838" y="1932740"/>
            <a:ext cx="2554973" cy="2263973"/>
          </a:xfrm>
          <a:prstGeom prst="cloud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3458" tIns="31729" rIns="63458" bIns="31729" rtlCol="0" anchor="ctr"/>
          <a:lstStyle/>
          <a:p>
            <a:pPr algn="ctr" defTabSz="761528"/>
            <a:endParaRPr lang="en-US" sz="15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7138641" y="3243307"/>
            <a:ext cx="282773" cy="579302"/>
            <a:chOff x="11505208" y="3951642"/>
            <a:chExt cx="452436" cy="695162"/>
          </a:xfrm>
          <a:effectLst/>
        </p:grpSpPr>
        <p:sp>
          <p:nvSpPr>
            <p:cNvPr id="58" name="tower"/>
            <p:cNvSpPr>
              <a:spLocks noEditPoints="1" noChangeArrowheads="1"/>
            </p:cNvSpPr>
            <p:nvPr/>
          </p:nvSpPr>
          <p:spPr bwMode="auto">
            <a:xfrm>
              <a:off x="11505208" y="3951643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9" name="tower"/>
            <p:cNvSpPr>
              <a:spLocks noEditPoints="1" noChangeArrowheads="1"/>
            </p:cNvSpPr>
            <p:nvPr/>
          </p:nvSpPr>
          <p:spPr bwMode="auto">
            <a:xfrm>
              <a:off x="11739104" y="3951642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0" name="tower"/>
            <p:cNvSpPr>
              <a:spLocks noEditPoints="1" noChangeArrowheads="1"/>
            </p:cNvSpPr>
            <p:nvPr/>
          </p:nvSpPr>
          <p:spPr bwMode="auto">
            <a:xfrm>
              <a:off x="11520564" y="4183363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1" name="tower"/>
            <p:cNvSpPr>
              <a:spLocks noEditPoints="1" noChangeArrowheads="1"/>
            </p:cNvSpPr>
            <p:nvPr/>
          </p:nvSpPr>
          <p:spPr bwMode="auto">
            <a:xfrm>
              <a:off x="11727012" y="4183362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6993079" y="2329965"/>
            <a:ext cx="365938" cy="579303"/>
            <a:chOff x="10906857" y="2903693"/>
            <a:chExt cx="585500" cy="695163"/>
          </a:xfrm>
          <a:effectLst/>
        </p:grpSpPr>
        <p:sp>
          <p:nvSpPr>
            <p:cNvPr id="63" name="tower"/>
            <p:cNvSpPr>
              <a:spLocks noEditPoints="1" noChangeArrowheads="1"/>
            </p:cNvSpPr>
            <p:nvPr/>
          </p:nvSpPr>
          <p:spPr bwMode="auto">
            <a:xfrm>
              <a:off x="10906857" y="2903694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4" name="tower"/>
            <p:cNvSpPr>
              <a:spLocks noEditPoints="1" noChangeArrowheads="1"/>
            </p:cNvSpPr>
            <p:nvPr/>
          </p:nvSpPr>
          <p:spPr bwMode="auto">
            <a:xfrm>
              <a:off x="11140753" y="2903693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5" name="tower"/>
            <p:cNvSpPr>
              <a:spLocks noEditPoints="1" noChangeArrowheads="1"/>
            </p:cNvSpPr>
            <p:nvPr/>
          </p:nvSpPr>
          <p:spPr bwMode="auto">
            <a:xfrm>
              <a:off x="10922213" y="3135414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6" name="tower"/>
            <p:cNvSpPr>
              <a:spLocks noEditPoints="1" noChangeArrowheads="1"/>
            </p:cNvSpPr>
            <p:nvPr/>
          </p:nvSpPr>
          <p:spPr bwMode="auto">
            <a:xfrm>
              <a:off x="11128662" y="3135413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7" name="tower"/>
            <p:cNvSpPr>
              <a:spLocks noEditPoints="1" noChangeArrowheads="1"/>
            </p:cNvSpPr>
            <p:nvPr/>
          </p:nvSpPr>
          <p:spPr bwMode="auto">
            <a:xfrm>
              <a:off x="11258461" y="2903695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8" name="tower"/>
            <p:cNvSpPr>
              <a:spLocks noEditPoints="1" noChangeArrowheads="1"/>
            </p:cNvSpPr>
            <p:nvPr/>
          </p:nvSpPr>
          <p:spPr bwMode="auto">
            <a:xfrm>
              <a:off x="11273817" y="3135415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6006403" y="2349813"/>
            <a:ext cx="424013" cy="588057"/>
            <a:chOff x="9613174" y="2464386"/>
            <a:chExt cx="678420" cy="705668"/>
          </a:xfrm>
          <a:effectLst/>
        </p:grpSpPr>
        <p:sp>
          <p:nvSpPr>
            <p:cNvPr id="70" name="tower"/>
            <p:cNvSpPr>
              <a:spLocks noEditPoints="1" noChangeArrowheads="1"/>
            </p:cNvSpPr>
            <p:nvPr/>
          </p:nvSpPr>
          <p:spPr bwMode="auto">
            <a:xfrm>
              <a:off x="9839158" y="2464387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1" name="tower"/>
            <p:cNvSpPr>
              <a:spLocks noEditPoints="1" noChangeArrowheads="1"/>
            </p:cNvSpPr>
            <p:nvPr/>
          </p:nvSpPr>
          <p:spPr bwMode="auto">
            <a:xfrm>
              <a:off x="10073054" y="2464386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2" name="tower"/>
            <p:cNvSpPr>
              <a:spLocks noEditPoints="1" noChangeArrowheads="1"/>
            </p:cNvSpPr>
            <p:nvPr/>
          </p:nvSpPr>
          <p:spPr bwMode="auto">
            <a:xfrm>
              <a:off x="9854514" y="2696107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3" name="tower"/>
            <p:cNvSpPr>
              <a:spLocks noEditPoints="1" noChangeArrowheads="1"/>
            </p:cNvSpPr>
            <p:nvPr/>
          </p:nvSpPr>
          <p:spPr bwMode="auto">
            <a:xfrm>
              <a:off x="10060963" y="2696106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4" name="tower"/>
            <p:cNvSpPr>
              <a:spLocks noEditPoints="1" noChangeArrowheads="1"/>
            </p:cNvSpPr>
            <p:nvPr/>
          </p:nvSpPr>
          <p:spPr bwMode="auto">
            <a:xfrm>
              <a:off x="9613174" y="2474893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5" name="tower"/>
            <p:cNvSpPr>
              <a:spLocks noEditPoints="1" noChangeArrowheads="1"/>
            </p:cNvSpPr>
            <p:nvPr/>
          </p:nvSpPr>
          <p:spPr bwMode="auto">
            <a:xfrm>
              <a:off x="9628530" y="2706613"/>
              <a:ext cx="218540" cy="463441"/>
            </a:xfrm>
            <a:custGeom>
              <a:avLst/>
              <a:gdLst>
                <a:gd name="T0" fmla="*/ 0 w 21600"/>
                <a:gd name="T1" fmla="*/ 2184 h 21600"/>
                <a:gd name="T2" fmla="*/ 6664 w 21600"/>
                <a:gd name="T3" fmla="*/ 0 h 21600"/>
                <a:gd name="T4" fmla="*/ 10800 w 21600"/>
                <a:gd name="T5" fmla="*/ 0 h 21600"/>
                <a:gd name="T6" fmla="*/ 21600 w 21600"/>
                <a:gd name="T7" fmla="*/ 0 h 21600"/>
                <a:gd name="T8" fmla="*/ 21600 w 21600"/>
                <a:gd name="T9" fmla="*/ 11649 h 21600"/>
                <a:gd name="T10" fmla="*/ 21600 w 21600"/>
                <a:gd name="T11" fmla="*/ 19416 h 21600"/>
                <a:gd name="T12" fmla="*/ 15166 w 21600"/>
                <a:gd name="T13" fmla="*/ 21600 h 21600"/>
                <a:gd name="T14" fmla="*/ 10570 w 21600"/>
                <a:gd name="T15" fmla="*/ 21600 h 21600"/>
                <a:gd name="T16" fmla="*/ 0 w 21600"/>
                <a:gd name="T17" fmla="*/ 21600 h 21600"/>
                <a:gd name="T18" fmla="*/ 0 w 21600"/>
                <a:gd name="T19" fmla="*/ 11528 h 21600"/>
                <a:gd name="T20" fmla="*/ 459 w 21600"/>
                <a:gd name="T21" fmla="*/ 22540 h 21600"/>
                <a:gd name="T22" fmla="*/ 21485 w 21600"/>
                <a:gd name="T23" fmla="*/ 270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 extrusionOk="0">
                  <a:moveTo>
                    <a:pt x="0" y="2184"/>
                  </a:moveTo>
                  <a:lnTo>
                    <a:pt x="6664" y="0"/>
                  </a:lnTo>
                  <a:lnTo>
                    <a:pt x="10800" y="0"/>
                  </a:lnTo>
                  <a:lnTo>
                    <a:pt x="21600" y="0"/>
                  </a:lnTo>
                  <a:lnTo>
                    <a:pt x="21600" y="11649"/>
                  </a:lnTo>
                  <a:lnTo>
                    <a:pt x="21600" y="19416"/>
                  </a:lnTo>
                  <a:lnTo>
                    <a:pt x="15166" y="21600"/>
                  </a:lnTo>
                  <a:lnTo>
                    <a:pt x="10570" y="21600"/>
                  </a:lnTo>
                  <a:lnTo>
                    <a:pt x="0" y="21600"/>
                  </a:lnTo>
                  <a:lnTo>
                    <a:pt x="0" y="11528"/>
                  </a:lnTo>
                  <a:lnTo>
                    <a:pt x="0" y="2184"/>
                  </a:lnTo>
                  <a:close/>
                </a:path>
                <a:path w="21600" h="21600" extrusionOk="0">
                  <a:moveTo>
                    <a:pt x="0" y="2184"/>
                  </a:moveTo>
                  <a:lnTo>
                    <a:pt x="0" y="2184"/>
                  </a:lnTo>
                  <a:lnTo>
                    <a:pt x="14706" y="2184"/>
                  </a:lnTo>
                  <a:lnTo>
                    <a:pt x="21600" y="0"/>
                  </a:lnTo>
                  <a:moveTo>
                    <a:pt x="0" y="2184"/>
                  </a:moveTo>
                  <a:lnTo>
                    <a:pt x="14706" y="2184"/>
                  </a:lnTo>
                  <a:lnTo>
                    <a:pt x="14706" y="5339"/>
                  </a:lnTo>
                  <a:lnTo>
                    <a:pt x="14706" y="17474"/>
                  </a:lnTo>
                  <a:lnTo>
                    <a:pt x="14706" y="21600"/>
                  </a:lnTo>
                  <a:moveTo>
                    <a:pt x="1149" y="3034"/>
                  </a:moveTo>
                  <a:lnTo>
                    <a:pt x="13328" y="3034"/>
                  </a:lnTo>
                  <a:lnTo>
                    <a:pt x="13328" y="3519"/>
                  </a:lnTo>
                  <a:lnTo>
                    <a:pt x="1149" y="3519"/>
                  </a:lnTo>
                  <a:lnTo>
                    <a:pt x="1149" y="3034"/>
                  </a:lnTo>
                  <a:moveTo>
                    <a:pt x="1149" y="4490"/>
                  </a:moveTo>
                  <a:lnTo>
                    <a:pt x="13328" y="4490"/>
                  </a:lnTo>
                  <a:lnTo>
                    <a:pt x="13328" y="4854"/>
                  </a:lnTo>
                  <a:lnTo>
                    <a:pt x="1149" y="4854"/>
                  </a:lnTo>
                  <a:lnTo>
                    <a:pt x="1149" y="4490"/>
                  </a:lnTo>
                  <a:moveTo>
                    <a:pt x="1149" y="5946"/>
                  </a:moveTo>
                  <a:lnTo>
                    <a:pt x="13328" y="5946"/>
                  </a:lnTo>
                  <a:lnTo>
                    <a:pt x="13328" y="6310"/>
                  </a:lnTo>
                  <a:lnTo>
                    <a:pt x="1149" y="6310"/>
                  </a:lnTo>
                  <a:lnTo>
                    <a:pt x="1149" y="5946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3"/>
              <a:endParaRPr lang="en-US" sz="17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76" name="TextBox 75"/>
          <p:cNvSpPr txBox="1"/>
          <p:nvPr/>
        </p:nvSpPr>
        <p:spPr>
          <a:xfrm>
            <a:off x="6451045" y="4239720"/>
            <a:ext cx="1729697" cy="51294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6152" tIns="38074" rIns="76152" bIns="38074" rtlCol="0">
            <a:spAutoFit/>
          </a:bodyPr>
          <a:lstStyle/>
          <a:p>
            <a:pPr defTabSz="761528"/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</a:rPr>
              <a:t>Subnets in </a:t>
            </a:r>
            <a:b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</a:rPr>
              <a:t>Windows</a:t>
            </a: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</a:rPr>
              <a:t>Azure</a:t>
            </a:r>
          </a:p>
        </p:txBody>
      </p:sp>
      <p:cxnSp>
        <p:nvCxnSpPr>
          <p:cNvPr id="77" name="Straight Connector 76"/>
          <p:cNvCxnSpPr>
            <a:stCxn id="72" idx="7"/>
          </p:cNvCxnSpPr>
          <p:nvPr/>
        </p:nvCxnSpPr>
        <p:spPr>
          <a:xfrm>
            <a:off x="6224079" y="2929116"/>
            <a:ext cx="0" cy="700394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stCxn id="81" idx="1"/>
            <a:endCxn id="65" idx="8"/>
          </p:cNvCxnSpPr>
          <p:nvPr/>
        </p:nvCxnSpPr>
        <p:spPr>
          <a:xfrm flipV="1">
            <a:off x="6320445" y="2909266"/>
            <a:ext cx="682232" cy="652914"/>
          </a:xfrm>
          <a:prstGeom prst="line">
            <a:avLst/>
          </a:prstGeom>
          <a:ln w="12700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6556566" y="3657201"/>
            <a:ext cx="575143" cy="0"/>
          </a:xfrm>
          <a:prstGeom prst="line">
            <a:avLst/>
          </a:prstGeom>
          <a:ln w="1270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Flowchart: Direct Access Storage 79"/>
          <p:cNvSpPr/>
          <p:nvPr/>
        </p:nvSpPr>
        <p:spPr bwMode="auto">
          <a:xfrm rot="19874717">
            <a:off x="5779864" y="4023393"/>
            <a:ext cx="414638" cy="45719"/>
          </a:xfrm>
          <a:prstGeom prst="flowChartMagneticDrum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149" tIns="38074" rIns="76149" bIns="38074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761277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1" name="Freeform 207"/>
          <p:cNvSpPr>
            <a:spLocks noEditPoints="1"/>
          </p:cNvSpPr>
          <p:nvPr/>
        </p:nvSpPr>
        <p:spPr bwMode="black">
          <a:xfrm>
            <a:off x="5935863" y="3560078"/>
            <a:ext cx="691038" cy="417927"/>
          </a:xfrm>
          <a:custGeom>
            <a:avLst/>
            <a:gdLst>
              <a:gd name="T0" fmla="*/ 1583 w 1601"/>
              <a:gd name="T1" fmla="*/ 409 h 1191"/>
              <a:gd name="T2" fmla="*/ 891 w 1601"/>
              <a:gd name="T3" fmla="*/ 6 h 1191"/>
              <a:gd name="T4" fmla="*/ 841 w 1601"/>
              <a:gd name="T5" fmla="*/ 6 h 1191"/>
              <a:gd name="T6" fmla="*/ 861 w 1601"/>
              <a:gd name="T7" fmla="*/ 834 h 1191"/>
              <a:gd name="T8" fmla="*/ 596 w 1601"/>
              <a:gd name="T9" fmla="*/ 987 h 1191"/>
              <a:gd name="T10" fmla="*/ 148 w 1601"/>
              <a:gd name="T11" fmla="*/ 797 h 1191"/>
              <a:gd name="T12" fmla="*/ 200 w 1601"/>
              <a:gd name="T13" fmla="*/ 762 h 1191"/>
              <a:gd name="T14" fmla="*/ 886 w 1601"/>
              <a:gd name="T15" fmla="*/ 1163 h 1191"/>
              <a:gd name="T16" fmla="*/ 853 w 1601"/>
              <a:gd name="T17" fmla="*/ 1191 h 1191"/>
              <a:gd name="T18" fmla="*/ 677 w 1601"/>
              <a:gd name="T19" fmla="*/ 1097 h 1191"/>
              <a:gd name="T20" fmla="*/ 730 w 1601"/>
              <a:gd name="T21" fmla="*/ 1062 h 1191"/>
              <a:gd name="T22" fmla="*/ 831 w 1601"/>
              <a:gd name="T23" fmla="*/ 926 h 1191"/>
              <a:gd name="T24" fmla="*/ 56 w 1601"/>
              <a:gd name="T25" fmla="*/ 679 h 1191"/>
              <a:gd name="T26" fmla="*/ 66 w 1601"/>
              <a:gd name="T27" fmla="*/ 687 h 1191"/>
              <a:gd name="T28" fmla="*/ 27 w 1601"/>
              <a:gd name="T29" fmla="*/ 728 h 1191"/>
              <a:gd name="T30" fmla="*/ 0 w 1601"/>
              <a:gd name="T31" fmla="*/ 691 h 1191"/>
              <a:gd name="T32" fmla="*/ 17 w 1601"/>
              <a:gd name="T33" fmla="*/ 416 h 1191"/>
              <a:gd name="T34" fmla="*/ 96 w 1601"/>
              <a:gd name="T35" fmla="*/ 442 h 1191"/>
              <a:gd name="T36" fmla="*/ 877 w 1601"/>
              <a:gd name="T37" fmla="*/ 881 h 1191"/>
              <a:gd name="T38" fmla="*/ 1600 w 1601"/>
              <a:gd name="T39" fmla="*/ 438 h 1191"/>
              <a:gd name="T40" fmla="*/ 1601 w 1601"/>
              <a:gd name="T41" fmla="*/ 669 h 1191"/>
              <a:gd name="T42" fmla="*/ 919 w 1601"/>
              <a:gd name="T43" fmla="*/ 1087 h 1191"/>
              <a:gd name="T44" fmla="*/ 894 w 1601"/>
              <a:gd name="T45" fmla="*/ 853 h 1191"/>
              <a:gd name="T46" fmla="*/ 525 w 1601"/>
              <a:gd name="T47" fmla="*/ 886 h 1191"/>
              <a:gd name="T48" fmla="*/ 316 w 1601"/>
              <a:gd name="T49" fmla="*/ 770 h 1191"/>
              <a:gd name="T50" fmla="*/ 300 w 1601"/>
              <a:gd name="T51" fmla="*/ 721 h 1191"/>
              <a:gd name="T52" fmla="*/ 523 w 1601"/>
              <a:gd name="T53" fmla="*/ 822 h 1191"/>
              <a:gd name="T54" fmla="*/ 539 w 1601"/>
              <a:gd name="T55" fmla="*/ 870 h 1191"/>
              <a:gd name="T56" fmla="*/ 712 w 1601"/>
              <a:gd name="T57" fmla="*/ 1033 h 1191"/>
              <a:gd name="T58" fmla="*/ 648 w 1601"/>
              <a:gd name="T59" fmla="*/ 1091 h 1191"/>
              <a:gd name="T60" fmla="*/ 617 w 1601"/>
              <a:gd name="T61" fmla="*/ 1070 h 1191"/>
              <a:gd name="T62" fmla="*/ 625 w 1601"/>
              <a:gd name="T63" fmla="*/ 914 h 1191"/>
              <a:gd name="T64" fmla="*/ 712 w 1601"/>
              <a:gd name="T65" fmla="*/ 885 h 1191"/>
              <a:gd name="T66" fmla="*/ 708 w 1601"/>
              <a:gd name="T67" fmla="*/ 909 h 1191"/>
              <a:gd name="T68" fmla="*/ 659 w 1601"/>
              <a:gd name="T69" fmla="*/ 1044 h 1191"/>
              <a:gd name="T70" fmla="*/ 712 w 1601"/>
              <a:gd name="T71" fmla="*/ 1033 h 1191"/>
              <a:gd name="T72" fmla="*/ 177 w 1601"/>
              <a:gd name="T73" fmla="*/ 756 h 1191"/>
              <a:gd name="T74" fmla="*/ 92 w 1601"/>
              <a:gd name="T75" fmla="*/ 786 h 1191"/>
              <a:gd name="T76" fmla="*/ 86 w 1601"/>
              <a:gd name="T77" fmla="*/ 632 h 1191"/>
              <a:gd name="T78" fmla="*/ 154 w 1601"/>
              <a:gd name="T79" fmla="*/ 580 h 1191"/>
              <a:gd name="T80" fmla="*/ 181 w 1601"/>
              <a:gd name="T81" fmla="*/ 585 h 1191"/>
              <a:gd name="T82" fmla="*/ 129 w 1601"/>
              <a:gd name="T83" fmla="*/ 637 h 1191"/>
              <a:gd name="T84" fmla="*/ 154 w 1601"/>
              <a:gd name="T85" fmla="*/ 729 h 1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01" h="1191">
                <a:moveTo>
                  <a:pt x="861" y="834"/>
                </a:moveTo>
                <a:cubicBezTo>
                  <a:pt x="1583" y="409"/>
                  <a:pt x="1583" y="409"/>
                  <a:pt x="1583" y="409"/>
                </a:cubicBezTo>
                <a:cubicBezTo>
                  <a:pt x="1581" y="407"/>
                  <a:pt x="1579" y="406"/>
                  <a:pt x="1576" y="404"/>
                </a:cubicBezTo>
                <a:cubicBezTo>
                  <a:pt x="891" y="6"/>
                  <a:pt x="891" y="6"/>
                  <a:pt x="891" y="6"/>
                </a:cubicBezTo>
                <a:cubicBezTo>
                  <a:pt x="884" y="2"/>
                  <a:pt x="875" y="0"/>
                  <a:pt x="866" y="0"/>
                </a:cubicBezTo>
                <a:cubicBezTo>
                  <a:pt x="857" y="0"/>
                  <a:pt x="848" y="2"/>
                  <a:pt x="841" y="6"/>
                </a:cubicBezTo>
                <a:cubicBezTo>
                  <a:pt x="130" y="422"/>
                  <a:pt x="130" y="422"/>
                  <a:pt x="130" y="422"/>
                </a:cubicBezTo>
                <a:lnTo>
                  <a:pt x="861" y="834"/>
                </a:lnTo>
                <a:close/>
                <a:moveTo>
                  <a:pt x="200" y="762"/>
                </a:moveTo>
                <a:cubicBezTo>
                  <a:pt x="596" y="987"/>
                  <a:pt x="596" y="987"/>
                  <a:pt x="596" y="987"/>
                </a:cubicBezTo>
                <a:cubicBezTo>
                  <a:pt x="596" y="1051"/>
                  <a:pt x="596" y="1051"/>
                  <a:pt x="596" y="1051"/>
                </a:cubicBezTo>
                <a:cubicBezTo>
                  <a:pt x="148" y="797"/>
                  <a:pt x="148" y="797"/>
                  <a:pt x="148" y="797"/>
                </a:cubicBezTo>
                <a:cubicBezTo>
                  <a:pt x="188" y="773"/>
                  <a:pt x="188" y="773"/>
                  <a:pt x="188" y="773"/>
                </a:cubicBezTo>
                <a:cubicBezTo>
                  <a:pt x="192" y="771"/>
                  <a:pt x="197" y="767"/>
                  <a:pt x="200" y="762"/>
                </a:cubicBezTo>
                <a:close/>
                <a:moveTo>
                  <a:pt x="886" y="897"/>
                </a:moveTo>
                <a:cubicBezTo>
                  <a:pt x="886" y="1163"/>
                  <a:pt x="886" y="1163"/>
                  <a:pt x="886" y="1163"/>
                </a:cubicBezTo>
                <a:cubicBezTo>
                  <a:pt x="884" y="1173"/>
                  <a:pt x="878" y="1182"/>
                  <a:pt x="870" y="1187"/>
                </a:cubicBezTo>
                <a:cubicBezTo>
                  <a:pt x="865" y="1190"/>
                  <a:pt x="859" y="1191"/>
                  <a:pt x="853" y="1191"/>
                </a:cubicBezTo>
                <a:cubicBezTo>
                  <a:pt x="847" y="1191"/>
                  <a:pt x="840" y="1190"/>
                  <a:pt x="834" y="1186"/>
                </a:cubicBezTo>
                <a:cubicBezTo>
                  <a:pt x="677" y="1097"/>
                  <a:pt x="677" y="1097"/>
                  <a:pt x="677" y="1097"/>
                </a:cubicBezTo>
                <a:cubicBezTo>
                  <a:pt x="718" y="1073"/>
                  <a:pt x="718" y="1073"/>
                  <a:pt x="718" y="1073"/>
                </a:cubicBezTo>
                <a:cubicBezTo>
                  <a:pt x="723" y="1071"/>
                  <a:pt x="727" y="1067"/>
                  <a:pt x="730" y="1062"/>
                </a:cubicBezTo>
                <a:cubicBezTo>
                  <a:pt x="831" y="1120"/>
                  <a:pt x="831" y="1120"/>
                  <a:pt x="831" y="1120"/>
                </a:cubicBezTo>
                <a:cubicBezTo>
                  <a:pt x="831" y="926"/>
                  <a:pt x="831" y="926"/>
                  <a:pt x="831" y="926"/>
                </a:cubicBezTo>
                <a:cubicBezTo>
                  <a:pt x="56" y="483"/>
                  <a:pt x="56" y="483"/>
                  <a:pt x="56" y="483"/>
                </a:cubicBezTo>
                <a:cubicBezTo>
                  <a:pt x="56" y="679"/>
                  <a:pt x="56" y="679"/>
                  <a:pt x="56" y="679"/>
                </a:cubicBezTo>
                <a:cubicBezTo>
                  <a:pt x="57" y="681"/>
                  <a:pt x="57" y="681"/>
                  <a:pt x="57" y="681"/>
                </a:cubicBezTo>
                <a:cubicBezTo>
                  <a:pt x="66" y="687"/>
                  <a:pt x="66" y="687"/>
                  <a:pt x="66" y="687"/>
                </a:cubicBezTo>
                <a:cubicBezTo>
                  <a:pt x="66" y="750"/>
                  <a:pt x="66" y="750"/>
                  <a:pt x="66" y="750"/>
                </a:cubicBezTo>
                <a:cubicBezTo>
                  <a:pt x="27" y="728"/>
                  <a:pt x="27" y="728"/>
                  <a:pt x="27" y="728"/>
                </a:cubicBezTo>
                <a:cubicBezTo>
                  <a:pt x="4" y="710"/>
                  <a:pt x="4" y="710"/>
                  <a:pt x="4" y="710"/>
                </a:cubicBezTo>
                <a:cubicBezTo>
                  <a:pt x="0" y="691"/>
                  <a:pt x="0" y="691"/>
                  <a:pt x="0" y="691"/>
                </a:cubicBezTo>
                <a:cubicBezTo>
                  <a:pt x="0" y="448"/>
                  <a:pt x="0" y="448"/>
                  <a:pt x="0" y="448"/>
                </a:cubicBezTo>
                <a:cubicBezTo>
                  <a:pt x="0" y="434"/>
                  <a:pt x="6" y="423"/>
                  <a:pt x="17" y="416"/>
                </a:cubicBezTo>
                <a:cubicBezTo>
                  <a:pt x="28" y="410"/>
                  <a:pt x="41" y="410"/>
                  <a:pt x="53" y="417"/>
                </a:cubicBezTo>
                <a:cubicBezTo>
                  <a:pt x="96" y="442"/>
                  <a:pt x="96" y="442"/>
                  <a:pt x="96" y="442"/>
                </a:cubicBezTo>
                <a:cubicBezTo>
                  <a:pt x="97" y="441"/>
                  <a:pt x="97" y="441"/>
                  <a:pt x="97" y="441"/>
                </a:cubicBezTo>
                <a:cubicBezTo>
                  <a:pt x="877" y="881"/>
                  <a:pt x="877" y="881"/>
                  <a:pt x="877" y="881"/>
                </a:cubicBezTo>
                <a:cubicBezTo>
                  <a:pt x="881" y="883"/>
                  <a:pt x="886" y="892"/>
                  <a:pt x="886" y="897"/>
                </a:cubicBezTo>
                <a:close/>
                <a:moveTo>
                  <a:pt x="1600" y="438"/>
                </a:moveTo>
                <a:cubicBezTo>
                  <a:pt x="1601" y="441"/>
                  <a:pt x="1601" y="444"/>
                  <a:pt x="1601" y="448"/>
                </a:cubicBezTo>
                <a:cubicBezTo>
                  <a:pt x="1601" y="669"/>
                  <a:pt x="1601" y="669"/>
                  <a:pt x="1601" y="669"/>
                </a:cubicBezTo>
                <a:cubicBezTo>
                  <a:pt x="1601" y="686"/>
                  <a:pt x="1591" y="704"/>
                  <a:pt x="1576" y="712"/>
                </a:cubicBezTo>
                <a:cubicBezTo>
                  <a:pt x="919" y="1087"/>
                  <a:pt x="919" y="1087"/>
                  <a:pt x="919" y="1087"/>
                </a:cubicBezTo>
                <a:cubicBezTo>
                  <a:pt x="919" y="897"/>
                  <a:pt x="919" y="897"/>
                  <a:pt x="919" y="897"/>
                </a:cubicBezTo>
                <a:cubicBezTo>
                  <a:pt x="919" y="880"/>
                  <a:pt x="909" y="862"/>
                  <a:pt x="894" y="853"/>
                </a:cubicBezTo>
                <a:lnTo>
                  <a:pt x="1600" y="438"/>
                </a:lnTo>
                <a:close/>
                <a:moveTo>
                  <a:pt x="525" y="886"/>
                </a:moveTo>
                <a:cubicBezTo>
                  <a:pt x="522" y="886"/>
                  <a:pt x="519" y="885"/>
                  <a:pt x="516" y="884"/>
                </a:cubicBezTo>
                <a:cubicBezTo>
                  <a:pt x="316" y="770"/>
                  <a:pt x="316" y="770"/>
                  <a:pt x="316" y="770"/>
                </a:cubicBezTo>
                <a:cubicBezTo>
                  <a:pt x="307" y="765"/>
                  <a:pt x="300" y="753"/>
                  <a:pt x="300" y="742"/>
                </a:cubicBezTo>
                <a:cubicBezTo>
                  <a:pt x="300" y="721"/>
                  <a:pt x="300" y="721"/>
                  <a:pt x="300" y="721"/>
                </a:cubicBezTo>
                <a:cubicBezTo>
                  <a:pt x="300" y="708"/>
                  <a:pt x="311" y="701"/>
                  <a:pt x="323" y="708"/>
                </a:cubicBezTo>
                <a:cubicBezTo>
                  <a:pt x="523" y="822"/>
                  <a:pt x="523" y="822"/>
                  <a:pt x="523" y="822"/>
                </a:cubicBezTo>
                <a:cubicBezTo>
                  <a:pt x="532" y="827"/>
                  <a:pt x="539" y="839"/>
                  <a:pt x="539" y="849"/>
                </a:cubicBezTo>
                <a:cubicBezTo>
                  <a:pt x="539" y="870"/>
                  <a:pt x="539" y="870"/>
                  <a:pt x="539" y="870"/>
                </a:cubicBezTo>
                <a:cubicBezTo>
                  <a:pt x="539" y="880"/>
                  <a:pt x="533" y="886"/>
                  <a:pt x="525" y="886"/>
                </a:cubicBezTo>
                <a:close/>
                <a:moveTo>
                  <a:pt x="712" y="1033"/>
                </a:moveTo>
                <a:cubicBezTo>
                  <a:pt x="718" y="1040"/>
                  <a:pt x="716" y="1051"/>
                  <a:pt x="708" y="1056"/>
                </a:cubicBezTo>
                <a:cubicBezTo>
                  <a:pt x="648" y="1091"/>
                  <a:pt x="648" y="1091"/>
                  <a:pt x="648" y="1091"/>
                </a:cubicBezTo>
                <a:cubicBezTo>
                  <a:pt x="640" y="1096"/>
                  <a:pt x="626" y="1090"/>
                  <a:pt x="622" y="1086"/>
                </a:cubicBezTo>
                <a:cubicBezTo>
                  <a:pt x="618" y="1082"/>
                  <a:pt x="617" y="1070"/>
                  <a:pt x="617" y="1070"/>
                </a:cubicBezTo>
                <a:cubicBezTo>
                  <a:pt x="617" y="932"/>
                  <a:pt x="617" y="932"/>
                  <a:pt x="617" y="932"/>
                </a:cubicBezTo>
                <a:cubicBezTo>
                  <a:pt x="617" y="932"/>
                  <a:pt x="618" y="918"/>
                  <a:pt x="625" y="914"/>
                </a:cubicBezTo>
                <a:cubicBezTo>
                  <a:pt x="684" y="880"/>
                  <a:pt x="684" y="880"/>
                  <a:pt x="684" y="880"/>
                </a:cubicBezTo>
                <a:cubicBezTo>
                  <a:pt x="693" y="875"/>
                  <a:pt x="706" y="878"/>
                  <a:pt x="712" y="885"/>
                </a:cubicBezTo>
                <a:cubicBezTo>
                  <a:pt x="712" y="885"/>
                  <a:pt x="712" y="885"/>
                  <a:pt x="712" y="885"/>
                </a:cubicBezTo>
                <a:cubicBezTo>
                  <a:pt x="717" y="893"/>
                  <a:pt x="716" y="904"/>
                  <a:pt x="708" y="909"/>
                </a:cubicBezTo>
                <a:cubicBezTo>
                  <a:pt x="659" y="937"/>
                  <a:pt x="659" y="937"/>
                  <a:pt x="659" y="937"/>
                </a:cubicBezTo>
                <a:cubicBezTo>
                  <a:pt x="659" y="1044"/>
                  <a:pt x="659" y="1044"/>
                  <a:pt x="659" y="1044"/>
                </a:cubicBezTo>
                <a:cubicBezTo>
                  <a:pt x="684" y="1029"/>
                  <a:pt x="684" y="1029"/>
                  <a:pt x="684" y="1029"/>
                </a:cubicBezTo>
                <a:cubicBezTo>
                  <a:pt x="693" y="1024"/>
                  <a:pt x="706" y="1025"/>
                  <a:pt x="712" y="1033"/>
                </a:cubicBezTo>
                <a:close/>
                <a:moveTo>
                  <a:pt x="182" y="733"/>
                </a:moveTo>
                <a:cubicBezTo>
                  <a:pt x="188" y="740"/>
                  <a:pt x="186" y="751"/>
                  <a:pt x="177" y="756"/>
                </a:cubicBezTo>
                <a:cubicBezTo>
                  <a:pt x="118" y="791"/>
                  <a:pt x="118" y="791"/>
                  <a:pt x="118" y="791"/>
                </a:cubicBezTo>
                <a:cubicBezTo>
                  <a:pt x="109" y="796"/>
                  <a:pt x="96" y="790"/>
                  <a:pt x="92" y="786"/>
                </a:cubicBezTo>
                <a:cubicBezTo>
                  <a:pt x="88" y="782"/>
                  <a:pt x="86" y="770"/>
                  <a:pt x="86" y="770"/>
                </a:cubicBezTo>
                <a:cubicBezTo>
                  <a:pt x="86" y="632"/>
                  <a:pt x="86" y="632"/>
                  <a:pt x="86" y="632"/>
                </a:cubicBezTo>
                <a:cubicBezTo>
                  <a:pt x="86" y="632"/>
                  <a:pt x="88" y="618"/>
                  <a:pt x="95" y="614"/>
                </a:cubicBezTo>
                <a:cubicBezTo>
                  <a:pt x="154" y="580"/>
                  <a:pt x="154" y="580"/>
                  <a:pt x="154" y="580"/>
                </a:cubicBezTo>
                <a:cubicBezTo>
                  <a:pt x="163" y="575"/>
                  <a:pt x="176" y="578"/>
                  <a:pt x="181" y="585"/>
                </a:cubicBezTo>
                <a:cubicBezTo>
                  <a:pt x="181" y="585"/>
                  <a:pt x="181" y="585"/>
                  <a:pt x="181" y="585"/>
                </a:cubicBezTo>
                <a:cubicBezTo>
                  <a:pt x="187" y="593"/>
                  <a:pt x="186" y="604"/>
                  <a:pt x="177" y="609"/>
                </a:cubicBezTo>
                <a:cubicBezTo>
                  <a:pt x="129" y="637"/>
                  <a:pt x="129" y="637"/>
                  <a:pt x="129" y="637"/>
                </a:cubicBezTo>
                <a:cubicBezTo>
                  <a:pt x="129" y="744"/>
                  <a:pt x="129" y="744"/>
                  <a:pt x="129" y="744"/>
                </a:cubicBezTo>
                <a:cubicBezTo>
                  <a:pt x="154" y="729"/>
                  <a:pt x="154" y="729"/>
                  <a:pt x="154" y="729"/>
                </a:cubicBezTo>
                <a:cubicBezTo>
                  <a:pt x="163" y="724"/>
                  <a:pt x="176" y="725"/>
                  <a:pt x="182" y="73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9" tIns="45705" rIns="91409" bIns="45705" numCol="1" anchor="t" anchorCtr="0" compatLnSpc="1">
            <a:prstTxWarp prst="textNoShape">
              <a:avLst/>
            </a:prstTxWarp>
          </a:bodyPr>
          <a:lstStyle/>
          <a:p>
            <a:pPr defTabSz="913903"/>
            <a:endParaRPr lang="en-US" sz="1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82" name="Group 81"/>
          <p:cNvGrpSpPr/>
          <p:nvPr/>
        </p:nvGrpSpPr>
        <p:grpSpPr>
          <a:xfrm>
            <a:off x="2568813" y="3473629"/>
            <a:ext cx="4342851" cy="4792815"/>
            <a:chOff x="4303989" y="2995351"/>
            <a:chExt cx="5788960" cy="4792815"/>
          </a:xfrm>
          <a:effectLst/>
        </p:grpSpPr>
        <p:grpSp>
          <p:nvGrpSpPr>
            <p:cNvPr id="83" name="Group 82"/>
            <p:cNvGrpSpPr/>
            <p:nvPr/>
          </p:nvGrpSpPr>
          <p:grpSpPr>
            <a:xfrm>
              <a:off x="7137384" y="4582141"/>
              <a:ext cx="669859" cy="579303"/>
              <a:chOff x="3234896" y="3904424"/>
              <a:chExt cx="804040" cy="69516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09" name="tower"/>
              <p:cNvSpPr>
                <a:spLocks noEditPoints="1" noChangeArrowheads="1"/>
              </p:cNvSpPr>
              <p:nvPr/>
            </p:nvSpPr>
            <p:spPr bwMode="auto">
              <a:xfrm>
                <a:off x="3234896" y="3904425"/>
                <a:ext cx="218540" cy="463441"/>
              </a:xfrm>
              <a:custGeom>
                <a:avLst/>
                <a:gdLst>
                  <a:gd name="T0" fmla="*/ 0 w 21600"/>
                  <a:gd name="T1" fmla="*/ 2184 h 21600"/>
                  <a:gd name="T2" fmla="*/ 6664 w 21600"/>
                  <a:gd name="T3" fmla="*/ 0 h 21600"/>
                  <a:gd name="T4" fmla="*/ 10800 w 21600"/>
                  <a:gd name="T5" fmla="*/ 0 h 21600"/>
                  <a:gd name="T6" fmla="*/ 21600 w 21600"/>
                  <a:gd name="T7" fmla="*/ 0 h 21600"/>
                  <a:gd name="T8" fmla="*/ 21600 w 21600"/>
                  <a:gd name="T9" fmla="*/ 11649 h 21600"/>
                  <a:gd name="T10" fmla="*/ 21600 w 21600"/>
                  <a:gd name="T11" fmla="*/ 19416 h 21600"/>
                  <a:gd name="T12" fmla="*/ 15166 w 21600"/>
                  <a:gd name="T13" fmla="*/ 21600 h 21600"/>
                  <a:gd name="T14" fmla="*/ 10570 w 21600"/>
                  <a:gd name="T15" fmla="*/ 21600 h 21600"/>
                  <a:gd name="T16" fmla="*/ 0 w 21600"/>
                  <a:gd name="T17" fmla="*/ 21600 h 21600"/>
                  <a:gd name="T18" fmla="*/ 0 w 21600"/>
                  <a:gd name="T19" fmla="*/ 11528 h 21600"/>
                  <a:gd name="T20" fmla="*/ 459 w 21600"/>
                  <a:gd name="T21" fmla="*/ 22540 h 21600"/>
                  <a:gd name="T22" fmla="*/ 21485 w 21600"/>
                  <a:gd name="T23" fmla="*/ 270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 extrusionOk="0">
                    <a:moveTo>
                      <a:pt x="0" y="2184"/>
                    </a:moveTo>
                    <a:lnTo>
                      <a:pt x="6664" y="0"/>
                    </a:lnTo>
                    <a:lnTo>
                      <a:pt x="10800" y="0"/>
                    </a:lnTo>
                    <a:lnTo>
                      <a:pt x="21600" y="0"/>
                    </a:lnTo>
                    <a:lnTo>
                      <a:pt x="21600" y="11649"/>
                    </a:lnTo>
                    <a:lnTo>
                      <a:pt x="21600" y="19416"/>
                    </a:lnTo>
                    <a:lnTo>
                      <a:pt x="15166" y="21600"/>
                    </a:lnTo>
                    <a:lnTo>
                      <a:pt x="10570" y="21600"/>
                    </a:lnTo>
                    <a:lnTo>
                      <a:pt x="0" y="21600"/>
                    </a:lnTo>
                    <a:lnTo>
                      <a:pt x="0" y="11528"/>
                    </a:lnTo>
                    <a:lnTo>
                      <a:pt x="0" y="2184"/>
                    </a:lnTo>
                    <a:close/>
                  </a:path>
                  <a:path w="21600" h="21600" extrusionOk="0">
                    <a:moveTo>
                      <a:pt x="0" y="2184"/>
                    </a:moveTo>
                    <a:lnTo>
                      <a:pt x="0" y="2184"/>
                    </a:lnTo>
                    <a:lnTo>
                      <a:pt x="14706" y="2184"/>
                    </a:lnTo>
                    <a:lnTo>
                      <a:pt x="21600" y="0"/>
                    </a:lnTo>
                    <a:moveTo>
                      <a:pt x="0" y="2184"/>
                    </a:moveTo>
                    <a:lnTo>
                      <a:pt x="14706" y="2184"/>
                    </a:lnTo>
                    <a:lnTo>
                      <a:pt x="14706" y="5339"/>
                    </a:lnTo>
                    <a:lnTo>
                      <a:pt x="14706" y="17474"/>
                    </a:lnTo>
                    <a:lnTo>
                      <a:pt x="14706" y="21600"/>
                    </a:lnTo>
                    <a:moveTo>
                      <a:pt x="1149" y="3034"/>
                    </a:moveTo>
                    <a:lnTo>
                      <a:pt x="13328" y="3034"/>
                    </a:lnTo>
                    <a:lnTo>
                      <a:pt x="13328" y="3519"/>
                    </a:lnTo>
                    <a:lnTo>
                      <a:pt x="1149" y="3519"/>
                    </a:lnTo>
                    <a:lnTo>
                      <a:pt x="1149" y="3034"/>
                    </a:lnTo>
                    <a:moveTo>
                      <a:pt x="1149" y="4490"/>
                    </a:moveTo>
                    <a:lnTo>
                      <a:pt x="13328" y="4490"/>
                    </a:lnTo>
                    <a:lnTo>
                      <a:pt x="13328" y="4854"/>
                    </a:lnTo>
                    <a:lnTo>
                      <a:pt x="1149" y="4854"/>
                    </a:lnTo>
                    <a:lnTo>
                      <a:pt x="1149" y="4490"/>
                    </a:lnTo>
                    <a:moveTo>
                      <a:pt x="1149" y="5946"/>
                    </a:moveTo>
                    <a:lnTo>
                      <a:pt x="13328" y="5946"/>
                    </a:lnTo>
                    <a:lnTo>
                      <a:pt x="13328" y="6310"/>
                    </a:lnTo>
                    <a:lnTo>
                      <a:pt x="1149" y="6310"/>
                    </a:lnTo>
                    <a:lnTo>
                      <a:pt x="1149" y="5946"/>
                    </a:lnTo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903"/>
                <a:endParaRPr lang="en-US" sz="17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0" name="tower"/>
              <p:cNvSpPr>
                <a:spLocks noEditPoints="1" noChangeArrowheads="1"/>
              </p:cNvSpPr>
              <p:nvPr/>
            </p:nvSpPr>
            <p:spPr bwMode="auto">
              <a:xfrm>
                <a:off x="3468792" y="3904424"/>
                <a:ext cx="218540" cy="463441"/>
              </a:xfrm>
              <a:custGeom>
                <a:avLst/>
                <a:gdLst>
                  <a:gd name="T0" fmla="*/ 0 w 21600"/>
                  <a:gd name="T1" fmla="*/ 2184 h 21600"/>
                  <a:gd name="T2" fmla="*/ 6664 w 21600"/>
                  <a:gd name="T3" fmla="*/ 0 h 21600"/>
                  <a:gd name="T4" fmla="*/ 10800 w 21600"/>
                  <a:gd name="T5" fmla="*/ 0 h 21600"/>
                  <a:gd name="T6" fmla="*/ 21600 w 21600"/>
                  <a:gd name="T7" fmla="*/ 0 h 21600"/>
                  <a:gd name="T8" fmla="*/ 21600 w 21600"/>
                  <a:gd name="T9" fmla="*/ 11649 h 21600"/>
                  <a:gd name="T10" fmla="*/ 21600 w 21600"/>
                  <a:gd name="T11" fmla="*/ 19416 h 21600"/>
                  <a:gd name="T12" fmla="*/ 15166 w 21600"/>
                  <a:gd name="T13" fmla="*/ 21600 h 21600"/>
                  <a:gd name="T14" fmla="*/ 10570 w 21600"/>
                  <a:gd name="T15" fmla="*/ 21600 h 21600"/>
                  <a:gd name="T16" fmla="*/ 0 w 21600"/>
                  <a:gd name="T17" fmla="*/ 21600 h 21600"/>
                  <a:gd name="T18" fmla="*/ 0 w 21600"/>
                  <a:gd name="T19" fmla="*/ 11528 h 21600"/>
                  <a:gd name="T20" fmla="*/ 459 w 21600"/>
                  <a:gd name="T21" fmla="*/ 22540 h 21600"/>
                  <a:gd name="T22" fmla="*/ 21485 w 21600"/>
                  <a:gd name="T23" fmla="*/ 270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 extrusionOk="0">
                    <a:moveTo>
                      <a:pt x="0" y="2184"/>
                    </a:moveTo>
                    <a:lnTo>
                      <a:pt x="6664" y="0"/>
                    </a:lnTo>
                    <a:lnTo>
                      <a:pt x="10800" y="0"/>
                    </a:lnTo>
                    <a:lnTo>
                      <a:pt x="21600" y="0"/>
                    </a:lnTo>
                    <a:lnTo>
                      <a:pt x="21600" y="11649"/>
                    </a:lnTo>
                    <a:lnTo>
                      <a:pt x="21600" y="19416"/>
                    </a:lnTo>
                    <a:lnTo>
                      <a:pt x="15166" y="21600"/>
                    </a:lnTo>
                    <a:lnTo>
                      <a:pt x="10570" y="21600"/>
                    </a:lnTo>
                    <a:lnTo>
                      <a:pt x="0" y="21600"/>
                    </a:lnTo>
                    <a:lnTo>
                      <a:pt x="0" y="11528"/>
                    </a:lnTo>
                    <a:lnTo>
                      <a:pt x="0" y="2184"/>
                    </a:lnTo>
                    <a:close/>
                  </a:path>
                  <a:path w="21600" h="21600" extrusionOk="0">
                    <a:moveTo>
                      <a:pt x="0" y="2184"/>
                    </a:moveTo>
                    <a:lnTo>
                      <a:pt x="0" y="2184"/>
                    </a:lnTo>
                    <a:lnTo>
                      <a:pt x="14706" y="2184"/>
                    </a:lnTo>
                    <a:lnTo>
                      <a:pt x="21600" y="0"/>
                    </a:lnTo>
                    <a:moveTo>
                      <a:pt x="0" y="2184"/>
                    </a:moveTo>
                    <a:lnTo>
                      <a:pt x="14706" y="2184"/>
                    </a:lnTo>
                    <a:lnTo>
                      <a:pt x="14706" y="5339"/>
                    </a:lnTo>
                    <a:lnTo>
                      <a:pt x="14706" y="17474"/>
                    </a:lnTo>
                    <a:lnTo>
                      <a:pt x="14706" y="21600"/>
                    </a:lnTo>
                    <a:moveTo>
                      <a:pt x="1149" y="3034"/>
                    </a:moveTo>
                    <a:lnTo>
                      <a:pt x="13328" y="3034"/>
                    </a:lnTo>
                    <a:lnTo>
                      <a:pt x="13328" y="3519"/>
                    </a:lnTo>
                    <a:lnTo>
                      <a:pt x="1149" y="3519"/>
                    </a:lnTo>
                    <a:lnTo>
                      <a:pt x="1149" y="3034"/>
                    </a:lnTo>
                    <a:moveTo>
                      <a:pt x="1149" y="4490"/>
                    </a:moveTo>
                    <a:lnTo>
                      <a:pt x="13328" y="4490"/>
                    </a:lnTo>
                    <a:lnTo>
                      <a:pt x="13328" y="4854"/>
                    </a:lnTo>
                    <a:lnTo>
                      <a:pt x="1149" y="4854"/>
                    </a:lnTo>
                    <a:lnTo>
                      <a:pt x="1149" y="4490"/>
                    </a:lnTo>
                    <a:moveTo>
                      <a:pt x="1149" y="5946"/>
                    </a:moveTo>
                    <a:lnTo>
                      <a:pt x="13328" y="5946"/>
                    </a:lnTo>
                    <a:lnTo>
                      <a:pt x="13328" y="6310"/>
                    </a:lnTo>
                    <a:lnTo>
                      <a:pt x="1149" y="6310"/>
                    </a:lnTo>
                    <a:lnTo>
                      <a:pt x="1149" y="5946"/>
                    </a:lnTo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903"/>
                <a:endParaRPr lang="en-US" sz="17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1" name="tower"/>
              <p:cNvSpPr>
                <a:spLocks noEditPoints="1" noChangeArrowheads="1"/>
              </p:cNvSpPr>
              <p:nvPr/>
            </p:nvSpPr>
            <p:spPr bwMode="auto">
              <a:xfrm>
                <a:off x="3250252" y="4136145"/>
                <a:ext cx="218540" cy="463441"/>
              </a:xfrm>
              <a:custGeom>
                <a:avLst/>
                <a:gdLst>
                  <a:gd name="T0" fmla="*/ 0 w 21600"/>
                  <a:gd name="T1" fmla="*/ 2184 h 21600"/>
                  <a:gd name="T2" fmla="*/ 6664 w 21600"/>
                  <a:gd name="T3" fmla="*/ 0 h 21600"/>
                  <a:gd name="T4" fmla="*/ 10800 w 21600"/>
                  <a:gd name="T5" fmla="*/ 0 h 21600"/>
                  <a:gd name="T6" fmla="*/ 21600 w 21600"/>
                  <a:gd name="T7" fmla="*/ 0 h 21600"/>
                  <a:gd name="T8" fmla="*/ 21600 w 21600"/>
                  <a:gd name="T9" fmla="*/ 11649 h 21600"/>
                  <a:gd name="T10" fmla="*/ 21600 w 21600"/>
                  <a:gd name="T11" fmla="*/ 19416 h 21600"/>
                  <a:gd name="T12" fmla="*/ 15166 w 21600"/>
                  <a:gd name="T13" fmla="*/ 21600 h 21600"/>
                  <a:gd name="T14" fmla="*/ 10570 w 21600"/>
                  <a:gd name="T15" fmla="*/ 21600 h 21600"/>
                  <a:gd name="T16" fmla="*/ 0 w 21600"/>
                  <a:gd name="T17" fmla="*/ 21600 h 21600"/>
                  <a:gd name="T18" fmla="*/ 0 w 21600"/>
                  <a:gd name="T19" fmla="*/ 11528 h 21600"/>
                  <a:gd name="T20" fmla="*/ 459 w 21600"/>
                  <a:gd name="T21" fmla="*/ 22540 h 21600"/>
                  <a:gd name="T22" fmla="*/ 21485 w 21600"/>
                  <a:gd name="T23" fmla="*/ 270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 extrusionOk="0">
                    <a:moveTo>
                      <a:pt x="0" y="2184"/>
                    </a:moveTo>
                    <a:lnTo>
                      <a:pt x="6664" y="0"/>
                    </a:lnTo>
                    <a:lnTo>
                      <a:pt x="10800" y="0"/>
                    </a:lnTo>
                    <a:lnTo>
                      <a:pt x="21600" y="0"/>
                    </a:lnTo>
                    <a:lnTo>
                      <a:pt x="21600" y="11649"/>
                    </a:lnTo>
                    <a:lnTo>
                      <a:pt x="21600" y="19416"/>
                    </a:lnTo>
                    <a:lnTo>
                      <a:pt x="15166" y="21600"/>
                    </a:lnTo>
                    <a:lnTo>
                      <a:pt x="10570" y="21600"/>
                    </a:lnTo>
                    <a:lnTo>
                      <a:pt x="0" y="21600"/>
                    </a:lnTo>
                    <a:lnTo>
                      <a:pt x="0" y="11528"/>
                    </a:lnTo>
                    <a:lnTo>
                      <a:pt x="0" y="2184"/>
                    </a:lnTo>
                    <a:close/>
                  </a:path>
                  <a:path w="21600" h="21600" extrusionOk="0">
                    <a:moveTo>
                      <a:pt x="0" y="2184"/>
                    </a:moveTo>
                    <a:lnTo>
                      <a:pt x="0" y="2184"/>
                    </a:lnTo>
                    <a:lnTo>
                      <a:pt x="14706" y="2184"/>
                    </a:lnTo>
                    <a:lnTo>
                      <a:pt x="21600" y="0"/>
                    </a:lnTo>
                    <a:moveTo>
                      <a:pt x="0" y="2184"/>
                    </a:moveTo>
                    <a:lnTo>
                      <a:pt x="14706" y="2184"/>
                    </a:lnTo>
                    <a:lnTo>
                      <a:pt x="14706" y="5339"/>
                    </a:lnTo>
                    <a:lnTo>
                      <a:pt x="14706" y="17474"/>
                    </a:lnTo>
                    <a:lnTo>
                      <a:pt x="14706" y="21600"/>
                    </a:lnTo>
                    <a:moveTo>
                      <a:pt x="1149" y="3034"/>
                    </a:moveTo>
                    <a:lnTo>
                      <a:pt x="13328" y="3034"/>
                    </a:lnTo>
                    <a:lnTo>
                      <a:pt x="13328" y="3519"/>
                    </a:lnTo>
                    <a:lnTo>
                      <a:pt x="1149" y="3519"/>
                    </a:lnTo>
                    <a:lnTo>
                      <a:pt x="1149" y="3034"/>
                    </a:lnTo>
                    <a:moveTo>
                      <a:pt x="1149" y="4490"/>
                    </a:moveTo>
                    <a:lnTo>
                      <a:pt x="13328" y="4490"/>
                    </a:lnTo>
                    <a:lnTo>
                      <a:pt x="13328" y="4854"/>
                    </a:lnTo>
                    <a:lnTo>
                      <a:pt x="1149" y="4854"/>
                    </a:lnTo>
                    <a:lnTo>
                      <a:pt x="1149" y="4490"/>
                    </a:lnTo>
                    <a:moveTo>
                      <a:pt x="1149" y="5946"/>
                    </a:moveTo>
                    <a:lnTo>
                      <a:pt x="13328" y="5946"/>
                    </a:lnTo>
                    <a:lnTo>
                      <a:pt x="13328" y="6310"/>
                    </a:lnTo>
                    <a:lnTo>
                      <a:pt x="1149" y="6310"/>
                    </a:lnTo>
                    <a:lnTo>
                      <a:pt x="1149" y="5946"/>
                    </a:lnTo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903"/>
                <a:endParaRPr lang="en-US" sz="17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2" name="tower"/>
              <p:cNvSpPr>
                <a:spLocks noEditPoints="1" noChangeArrowheads="1"/>
              </p:cNvSpPr>
              <p:nvPr/>
            </p:nvSpPr>
            <p:spPr bwMode="auto">
              <a:xfrm>
                <a:off x="3456701" y="4136144"/>
                <a:ext cx="218540" cy="463441"/>
              </a:xfrm>
              <a:custGeom>
                <a:avLst/>
                <a:gdLst>
                  <a:gd name="T0" fmla="*/ 0 w 21600"/>
                  <a:gd name="T1" fmla="*/ 2184 h 21600"/>
                  <a:gd name="T2" fmla="*/ 6664 w 21600"/>
                  <a:gd name="T3" fmla="*/ 0 h 21600"/>
                  <a:gd name="T4" fmla="*/ 10800 w 21600"/>
                  <a:gd name="T5" fmla="*/ 0 h 21600"/>
                  <a:gd name="T6" fmla="*/ 21600 w 21600"/>
                  <a:gd name="T7" fmla="*/ 0 h 21600"/>
                  <a:gd name="T8" fmla="*/ 21600 w 21600"/>
                  <a:gd name="T9" fmla="*/ 11649 h 21600"/>
                  <a:gd name="T10" fmla="*/ 21600 w 21600"/>
                  <a:gd name="T11" fmla="*/ 19416 h 21600"/>
                  <a:gd name="T12" fmla="*/ 15166 w 21600"/>
                  <a:gd name="T13" fmla="*/ 21600 h 21600"/>
                  <a:gd name="T14" fmla="*/ 10570 w 21600"/>
                  <a:gd name="T15" fmla="*/ 21600 h 21600"/>
                  <a:gd name="T16" fmla="*/ 0 w 21600"/>
                  <a:gd name="T17" fmla="*/ 21600 h 21600"/>
                  <a:gd name="T18" fmla="*/ 0 w 21600"/>
                  <a:gd name="T19" fmla="*/ 11528 h 21600"/>
                  <a:gd name="T20" fmla="*/ 459 w 21600"/>
                  <a:gd name="T21" fmla="*/ 22540 h 21600"/>
                  <a:gd name="T22" fmla="*/ 21485 w 21600"/>
                  <a:gd name="T23" fmla="*/ 270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 extrusionOk="0">
                    <a:moveTo>
                      <a:pt x="0" y="2184"/>
                    </a:moveTo>
                    <a:lnTo>
                      <a:pt x="6664" y="0"/>
                    </a:lnTo>
                    <a:lnTo>
                      <a:pt x="10800" y="0"/>
                    </a:lnTo>
                    <a:lnTo>
                      <a:pt x="21600" y="0"/>
                    </a:lnTo>
                    <a:lnTo>
                      <a:pt x="21600" y="11649"/>
                    </a:lnTo>
                    <a:lnTo>
                      <a:pt x="21600" y="19416"/>
                    </a:lnTo>
                    <a:lnTo>
                      <a:pt x="15166" y="21600"/>
                    </a:lnTo>
                    <a:lnTo>
                      <a:pt x="10570" y="21600"/>
                    </a:lnTo>
                    <a:lnTo>
                      <a:pt x="0" y="21600"/>
                    </a:lnTo>
                    <a:lnTo>
                      <a:pt x="0" y="11528"/>
                    </a:lnTo>
                    <a:lnTo>
                      <a:pt x="0" y="2184"/>
                    </a:lnTo>
                    <a:close/>
                  </a:path>
                  <a:path w="21600" h="21600" extrusionOk="0">
                    <a:moveTo>
                      <a:pt x="0" y="2184"/>
                    </a:moveTo>
                    <a:lnTo>
                      <a:pt x="0" y="2184"/>
                    </a:lnTo>
                    <a:lnTo>
                      <a:pt x="14706" y="2184"/>
                    </a:lnTo>
                    <a:lnTo>
                      <a:pt x="21600" y="0"/>
                    </a:lnTo>
                    <a:moveTo>
                      <a:pt x="0" y="2184"/>
                    </a:moveTo>
                    <a:lnTo>
                      <a:pt x="14706" y="2184"/>
                    </a:lnTo>
                    <a:lnTo>
                      <a:pt x="14706" y="5339"/>
                    </a:lnTo>
                    <a:lnTo>
                      <a:pt x="14706" y="17474"/>
                    </a:lnTo>
                    <a:lnTo>
                      <a:pt x="14706" y="21600"/>
                    </a:lnTo>
                    <a:moveTo>
                      <a:pt x="1149" y="3034"/>
                    </a:moveTo>
                    <a:lnTo>
                      <a:pt x="13328" y="3034"/>
                    </a:lnTo>
                    <a:lnTo>
                      <a:pt x="13328" y="3519"/>
                    </a:lnTo>
                    <a:lnTo>
                      <a:pt x="1149" y="3519"/>
                    </a:lnTo>
                    <a:lnTo>
                      <a:pt x="1149" y="3034"/>
                    </a:lnTo>
                    <a:moveTo>
                      <a:pt x="1149" y="4490"/>
                    </a:moveTo>
                    <a:lnTo>
                      <a:pt x="13328" y="4490"/>
                    </a:lnTo>
                    <a:lnTo>
                      <a:pt x="13328" y="4854"/>
                    </a:lnTo>
                    <a:lnTo>
                      <a:pt x="1149" y="4854"/>
                    </a:lnTo>
                    <a:lnTo>
                      <a:pt x="1149" y="4490"/>
                    </a:lnTo>
                    <a:moveTo>
                      <a:pt x="1149" y="5946"/>
                    </a:moveTo>
                    <a:lnTo>
                      <a:pt x="13328" y="5946"/>
                    </a:lnTo>
                    <a:lnTo>
                      <a:pt x="13328" y="6310"/>
                    </a:lnTo>
                    <a:lnTo>
                      <a:pt x="1149" y="6310"/>
                    </a:lnTo>
                    <a:lnTo>
                      <a:pt x="1149" y="5946"/>
                    </a:lnTo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903"/>
                <a:endParaRPr lang="en-US" sz="17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3" name="tower"/>
              <p:cNvSpPr>
                <a:spLocks noEditPoints="1" noChangeArrowheads="1"/>
              </p:cNvSpPr>
              <p:nvPr/>
            </p:nvSpPr>
            <p:spPr bwMode="auto">
              <a:xfrm>
                <a:off x="3586500" y="3904426"/>
                <a:ext cx="218540" cy="463441"/>
              </a:xfrm>
              <a:custGeom>
                <a:avLst/>
                <a:gdLst>
                  <a:gd name="T0" fmla="*/ 0 w 21600"/>
                  <a:gd name="T1" fmla="*/ 2184 h 21600"/>
                  <a:gd name="T2" fmla="*/ 6664 w 21600"/>
                  <a:gd name="T3" fmla="*/ 0 h 21600"/>
                  <a:gd name="T4" fmla="*/ 10800 w 21600"/>
                  <a:gd name="T5" fmla="*/ 0 h 21600"/>
                  <a:gd name="T6" fmla="*/ 21600 w 21600"/>
                  <a:gd name="T7" fmla="*/ 0 h 21600"/>
                  <a:gd name="T8" fmla="*/ 21600 w 21600"/>
                  <a:gd name="T9" fmla="*/ 11649 h 21600"/>
                  <a:gd name="T10" fmla="*/ 21600 w 21600"/>
                  <a:gd name="T11" fmla="*/ 19416 h 21600"/>
                  <a:gd name="T12" fmla="*/ 15166 w 21600"/>
                  <a:gd name="T13" fmla="*/ 21600 h 21600"/>
                  <a:gd name="T14" fmla="*/ 10570 w 21600"/>
                  <a:gd name="T15" fmla="*/ 21600 h 21600"/>
                  <a:gd name="T16" fmla="*/ 0 w 21600"/>
                  <a:gd name="T17" fmla="*/ 21600 h 21600"/>
                  <a:gd name="T18" fmla="*/ 0 w 21600"/>
                  <a:gd name="T19" fmla="*/ 11528 h 21600"/>
                  <a:gd name="T20" fmla="*/ 459 w 21600"/>
                  <a:gd name="T21" fmla="*/ 22540 h 21600"/>
                  <a:gd name="T22" fmla="*/ 21485 w 21600"/>
                  <a:gd name="T23" fmla="*/ 270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 extrusionOk="0">
                    <a:moveTo>
                      <a:pt x="0" y="2184"/>
                    </a:moveTo>
                    <a:lnTo>
                      <a:pt x="6664" y="0"/>
                    </a:lnTo>
                    <a:lnTo>
                      <a:pt x="10800" y="0"/>
                    </a:lnTo>
                    <a:lnTo>
                      <a:pt x="21600" y="0"/>
                    </a:lnTo>
                    <a:lnTo>
                      <a:pt x="21600" y="11649"/>
                    </a:lnTo>
                    <a:lnTo>
                      <a:pt x="21600" y="19416"/>
                    </a:lnTo>
                    <a:lnTo>
                      <a:pt x="15166" y="21600"/>
                    </a:lnTo>
                    <a:lnTo>
                      <a:pt x="10570" y="21600"/>
                    </a:lnTo>
                    <a:lnTo>
                      <a:pt x="0" y="21600"/>
                    </a:lnTo>
                    <a:lnTo>
                      <a:pt x="0" y="11528"/>
                    </a:lnTo>
                    <a:lnTo>
                      <a:pt x="0" y="2184"/>
                    </a:lnTo>
                    <a:close/>
                  </a:path>
                  <a:path w="21600" h="21600" extrusionOk="0">
                    <a:moveTo>
                      <a:pt x="0" y="2184"/>
                    </a:moveTo>
                    <a:lnTo>
                      <a:pt x="0" y="2184"/>
                    </a:lnTo>
                    <a:lnTo>
                      <a:pt x="14706" y="2184"/>
                    </a:lnTo>
                    <a:lnTo>
                      <a:pt x="21600" y="0"/>
                    </a:lnTo>
                    <a:moveTo>
                      <a:pt x="0" y="2184"/>
                    </a:moveTo>
                    <a:lnTo>
                      <a:pt x="14706" y="2184"/>
                    </a:lnTo>
                    <a:lnTo>
                      <a:pt x="14706" y="5339"/>
                    </a:lnTo>
                    <a:lnTo>
                      <a:pt x="14706" y="17474"/>
                    </a:lnTo>
                    <a:lnTo>
                      <a:pt x="14706" y="21600"/>
                    </a:lnTo>
                    <a:moveTo>
                      <a:pt x="1149" y="3034"/>
                    </a:moveTo>
                    <a:lnTo>
                      <a:pt x="13328" y="3034"/>
                    </a:lnTo>
                    <a:lnTo>
                      <a:pt x="13328" y="3519"/>
                    </a:lnTo>
                    <a:lnTo>
                      <a:pt x="1149" y="3519"/>
                    </a:lnTo>
                    <a:lnTo>
                      <a:pt x="1149" y="3034"/>
                    </a:lnTo>
                    <a:moveTo>
                      <a:pt x="1149" y="4490"/>
                    </a:moveTo>
                    <a:lnTo>
                      <a:pt x="13328" y="4490"/>
                    </a:lnTo>
                    <a:lnTo>
                      <a:pt x="13328" y="4854"/>
                    </a:lnTo>
                    <a:lnTo>
                      <a:pt x="1149" y="4854"/>
                    </a:lnTo>
                    <a:lnTo>
                      <a:pt x="1149" y="4490"/>
                    </a:lnTo>
                    <a:moveTo>
                      <a:pt x="1149" y="5946"/>
                    </a:moveTo>
                    <a:lnTo>
                      <a:pt x="13328" y="5946"/>
                    </a:lnTo>
                    <a:lnTo>
                      <a:pt x="13328" y="6310"/>
                    </a:lnTo>
                    <a:lnTo>
                      <a:pt x="1149" y="6310"/>
                    </a:lnTo>
                    <a:lnTo>
                      <a:pt x="1149" y="5946"/>
                    </a:lnTo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903"/>
                <a:endParaRPr lang="en-US" sz="17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4" name="tower"/>
              <p:cNvSpPr>
                <a:spLocks noEditPoints="1" noChangeArrowheads="1"/>
              </p:cNvSpPr>
              <p:nvPr/>
            </p:nvSpPr>
            <p:spPr bwMode="auto">
              <a:xfrm>
                <a:off x="3820396" y="3904425"/>
                <a:ext cx="218540" cy="463441"/>
              </a:xfrm>
              <a:custGeom>
                <a:avLst/>
                <a:gdLst>
                  <a:gd name="T0" fmla="*/ 0 w 21600"/>
                  <a:gd name="T1" fmla="*/ 2184 h 21600"/>
                  <a:gd name="T2" fmla="*/ 6664 w 21600"/>
                  <a:gd name="T3" fmla="*/ 0 h 21600"/>
                  <a:gd name="T4" fmla="*/ 10800 w 21600"/>
                  <a:gd name="T5" fmla="*/ 0 h 21600"/>
                  <a:gd name="T6" fmla="*/ 21600 w 21600"/>
                  <a:gd name="T7" fmla="*/ 0 h 21600"/>
                  <a:gd name="T8" fmla="*/ 21600 w 21600"/>
                  <a:gd name="T9" fmla="*/ 11649 h 21600"/>
                  <a:gd name="T10" fmla="*/ 21600 w 21600"/>
                  <a:gd name="T11" fmla="*/ 19416 h 21600"/>
                  <a:gd name="T12" fmla="*/ 15166 w 21600"/>
                  <a:gd name="T13" fmla="*/ 21600 h 21600"/>
                  <a:gd name="T14" fmla="*/ 10570 w 21600"/>
                  <a:gd name="T15" fmla="*/ 21600 h 21600"/>
                  <a:gd name="T16" fmla="*/ 0 w 21600"/>
                  <a:gd name="T17" fmla="*/ 21600 h 21600"/>
                  <a:gd name="T18" fmla="*/ 0 w 21600"/>
                  <a:gd name="T19" fmla="*/ 11528 h 21600"/>
                  <a:gd name="T20" fmla="*/ 459 w 21600"/>
                  <a:gd name="T21" fmla="*/ 22540 h 21600"/>
                  <a:gd name="T22" fmla="*/ 21485 w 21600"/>
                  <a:gd name="T23" fmla="*/ 270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 extrusionOk="0">
                    <a:moveTo>
                      <a:pt x="0" y="2184"/>
                    </a:moveTo>
                    <a:lnTo>
                      <a:pt x="6664" y="0"/>
                    </a:lnTo>
                    <a:lnTo>
                      <a:pt x="10800" y="0"/>
                    </a:lnTo>
                    <a:lnTo>
                      <a:pt x="21600" y="0"/>
                    </a:lnTo>
                    <a:lnTo>
                      <a:pt x="21600" y="11649"/>
                    </a:lnTo>
                    <a:lnTo>
                      <a:pt x="21600" y="19416"/>
                    </a:lnTo>
                    <a:lnTo>
                      <a:pt x="15166" y="21600"/>
                    </a:lnTo>
                    <a:lnTo>
                      <a:pt x="10570" y="21600"/>
                    </a:lnTo>
                    <a:lnTo>
                      <a:pt x="0" y="21600"/>
                    </a:lnTo>
                    <a:lnTo>
                      <a:pt x="0" y="11528"/>
                    </a:lnTo>
                    <a:lnTo>
                      <a:pt x="0" y="2184"/>
                    </a:lnTo>
                    <a:close/>
                  </a:path>
                  <a:path w="21600" h="21600" extrusionOk="0">
                    <a:moveTo>
                      <a:pt x="0" y="2184"/>
                    </a:moveTo>
                    <a:lnTo>
                      <a:pt x="0" y="2184"/>
                    </a:lnTo>
                    <a:lnTo>
                      <a:pt x="14706" y="2184"/>
                    </a:lnTo>
                    <a:lnTo>
                      <a:pt x="21600" y="0"/>
                    </a:lnTo>
                    <a:moveTo>
                      <a:pt x="0" y="2184"/>
                    </a:moveTo>
                    <a:lnTo>
                      <a:pt x="14706" y="2184"/>
                    </a:lnTo>
                    <a:lnTo>
                      <a:pt x="14706" y="5339"/>
                    </a:lnTo>
                    <a:lnTo>
                      <a:pt x="14706" y="17474"/>
                    </a:lnTo>
                    <a:lnTo>
                      <a:pt x="14706" y="21600"/>
                    </a:lnTo>
                    <a:moveTo>
                      <a:pt x="1149" y="3034"/>
                    </a:moveTo>
                    <a:lnTo>
                      <a:pt x="13328" y="3034"/>
                    </a:lnTo>
                    <a:lnTo>
                      <a:pt x="13328" y="3519"/>
                    </a:lnTo>
                    <a:lnTo>
                      <a:pt x="1149" y="3519"/>
                    </a:lnTo>
                    <a:lnTo>
                      <a:pt x="1149" y="3034"/>
                    </a:lnTo>
                    <a:moveTo>
                      <a:pt x="1149" y="4490"/>
                    </a:moveTo>
                    <a:lnTo>
                      <a:pt x="13328" y="4490"/>
                    </a:lnTo>
                    <a:lnTo>
                      <a:pt x="13328" y="4854"/>
                    </a:lnTo>
                    <a:lnTo>
                      <a:pt x="1149" y="4854"/>
                    </a:lnTo>
                    <a:lnTo>
                      <a:pt x="1149" y="4490"/>
                    </a:lnTo>
                    <a:moveTo>
                      <a:pt x="1149" y="5946"/>
                    </a:moveTo>
                    <a:lnTo>
                      <a:pt x="13328" y="5946"/>
                    </a:lnTo>
                    <a:lnTo>
                      <a:pt x="13328" y="6310"/>
                    </a:lnTo>
                    <a:lnTo>
                      <a:pt x="1149" y="6310"/>
                    </a:lnTo>
                    <a:lnTo>
                      <a:pt x="1149" y="5946"/>
                    </a:lnTo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903"/>
                <a:endParaRPr lang="en-US" sz="17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5" name="tower"/>
              <p:cNvSpPr>
                <a:spLocks noEditPoints="1" noChangeArrowheads="1"/>
              </p:cNvSpPr>
              <p:nvPr/>
            </p:nvSpPr>
            <p:spPr bwMode="auto">
              <a:xfrm>
                <a:off x="3601856" y="4136146"/>
                <a:ext cx="218540" cy="463441"/>
              </a:xfrm>
              <a:custGeom>
                <a:avLst/>
                <a:gdLst>
                  <a:gd name="T0" fmla="*/ 0 w 21600"/>
                  <a:gd name="T1" fmla="*/ 2184 h 21600"/>
                  <a:gd name="T2" fmla="*/ 6664 w 21600"/>
                  <a:gd name="T3" fmla="*/ 0 h 21600"/>
                  <a:gd name="T4" fmla="*/ 10800 w 21600"/>
                  <a:gd name="T5" fmla="*/ 0 h 21600"/>
                  <a:gd name="T6" fmla="*/ 21600 w 21600"/>
                  <a:gd name="T7" fmla="*/ 0 h 21600"/>
                  <a:gd name="T8" fmla="*/ 21600 w 21600"/>
                  <a:gd name="T9" fmla="*/ 11649 h 21600"/>
                  <a:gd name="T10" fmla="*/ 21600 w 21600"/>
                  <a:gd name="T11" fmla="*/ 19416 h 21600"/>
                  <a:gd name="T12" fmla="*/ 15166 w 21600"/>
                  <a:gd name="T13" fmla="*/ 21600 h 21600"/>
                  <a:gd name="T14" fmla="*/ 10570 w 21600"/>
                  <a:gd name="T15" fmla="*/ 21600 h 21600"/>
                  <a:gd name="T16" fmla="*/ 0 w 21600"/>
                  <a:gd name="T17" fmla="*/ 21600 h 21600"/>
                  <a:gd name="T18" fmla="*/ 0 w 21600"/>
                  <a:gd name="T19" fmla="*/ 11528 h 21600"/>
                  <a:gd name="T20" fmla="*/ 459 w 21600"/>
                  <a:gd name="T21" fmla="*/ 22540 h 21600"/>
                  <a:gd name="T22" fmla="*/ 21485 w 21600"/>
                  <a:gd name="T23" fmla="*/ 270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 extrusionOk="0">
                    <a:moveTo>
                      <a:pt x="0" y="2184"/>
                    </a:moveTo>
                    <a:lnTo>
                      <a:pt x="6664" y="0"/>
                    </a:lnTo>
                    <a:lnTo>
                      <a:pt x="10800" y="0"/>
                    </a:lnTo>
                    <a:lnTo>
                      <a:pt x="21600" y="0"/>
                    </a:lnTo>
                    <a:lnTo>
                      <a:pt x="21600" y="11649"/>
                    </a:lnTo>
                    <a:lnTo>
                      <a:pt x="21600" y="19416"/>
                    </a:lnTo>
                    <a:lnTo>
                      <a:pt x="15166" y="21600"/>
                    </a:lnTo>
                    <a:lnTo>
                      <a:pt x="10570" y="21600"/>
                    </a:lnTo>
                    <a:lnTo>
                      <a:pt x="0" y="21600"/>
                    </a:lnTo>
                    <a:lnTo>
                      <a:pt x="0" y="11528"/>
                    </a:lnTo>
                    <a:lnTo>
                      <a:pt x="0" y="2184"/>
                    </a:lnTo>
                    <a:close/>
                  </a:path>
                  <a:path w="21600" h="21600" extrusionOk="0">
                    <a:moveTo>
                      <a:pt x="0" y="2184"/>
                    </a:moveTo>
                    <a:lnTo>
                      <a:pt x="0" y="2184"/>
                    </a:lnTo>
                    <a:lnTo>
                      <a:pt x="14706" y="2184"/>
                    </a:lnTo>
                    <a:lnTo>
                      <a:pt x="21600" y="0"/>
                    </a:lnTo>
                    <a:moveTo>
                      <a:pt x="0" y="2184"/>
                    </a:moveTo>
                    <a:lnTo>
                      <a:pt x="14706" y="2184"/>
                    </a:lnTo>
                    <a:lnTo>
                      <a:pt x="14706" y="5339"/>
                    </a:lnTo>
                    <a:lnTo>
                      <a:pt x="14706" y="17474"/>
                    </a:lnTo>
                    <a:lnTo>
                      <a:pt x="14706" y="21600"/>
                    </a:lnTo>
                    <a:moveTo>
                      <a:pt x="1149" y="3034"/>
                    </a:moveTo>
                    <a:lnTo>
                      <a:pt x="13328" y="3034"/>
                    </a:lnTo>
                    <a:lnTo>
                      <a:pt x="13328" y="3519"/>
                    </a:lnTo>
                    <a:lnTo>
                      <a:pt x="1149" y="3519"/>
                    </a:lnTo>
                    <a:lnTo>
                      <a:pt x="1149" y="3034"/>
                    </a:lnTo>
                    <a:moveTo>
                      <a:pt x="1149" y="4490"/>
                    </a:moveTo>
                    <a:lnTo>
                      <a:pt x="13328" y="4490"/>
                    </a:lnTo>
                    <a:lnTo>
                      <a:pt x="13328" y="4854"/>
                    </a:lnTo>
                    <a:lnTo>
                      <a:pt x="1149" y="4854"/>
                    </a:lnTo>
                    <a:lnTo>
                      <a:pt x="1149" y="4490"/>
                    </a:lnTo>
                    <a:moveTo>
                      <a:pt x="1149" y="5946"/>
                    </a:moveTo>
                    <a:lnTo>
                      <a:pt x="13328" y="5946"/>
                    </a:lnTo>
                    <a:lnTo>
                      <a:pt x="13328" y="6310"/>
                    </a:lnTo>
                    <a:lnTo>
                      <a:pt x="1149" y="6310"/>
                    </a:lnTo>
                    <a:lnTo>
                      <a:pt x="1149" y="5946"/>
                    </a:lnTo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903"/>
                <a:endParaRPr lang="en-US" sz="17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6" name="tower"/>
              <p:cNvSpPr>
                <a:spLocks noEditPoints="1" noChangeArrowheads="1"/>
              </p:cNvSpPr>
              <p:nvPr/>
            </p:nvSpPr>
            <p:spPr bwMode="auto">
              <a:xfrm>
                <a:off x="3808305" y="4136145"/>
                <a:ext cx="218540" cy="463441"/>
              </a:xfrm>
              <a:custGeom>
                <a:avLst/>
                <a:gdLst>
                  <a:gd name="T0" fmla="*/ 0 w 21600"/>
                  <a:gd name="T1" fmla="*/ 2184 h 21600"/>
                  <a:gd name="T2" fmla="*/ 6664 w 21600"/>
                  <a:gd name="T3" fmla="*/ 0 h 21600"/>
                  <a:gd name="T4" fmla="*/ 10800 w 21600"/>
                  <a:gd name="T5" fmla="*/ 0 h 21600"/>
                  <a:gd name="T6" fmla="*/ 21600 w 21600"/>
                  <a:gd name="T7" fmla="*/ 0 h 21600"/>
                  <a:gd name="T8" fmla="*/ 21600 w 21600"/>
                  <a:gd name="T9" fmla="*/ 11649 h 21600"/>
                  <a:gd name="T10" fmla="*/ 21600 w 21600"/>
                  <a:gd name="T11" fmla="*/ 19416 h 21600"/>
                  <a:gd name="T12" fmla="*/ 15166 w 21600"/>
                  <a:gd name="T13" fmla="*/ 21600 h 21600"/>
                  <a:gd name="T14" fmla="*/ 10570 w 21600"/>
                  <a:gd name="T15" fmla="*/ 21600 h 21600"/>
                  <a:gd name="T16" fmla="*/ 0 w 21600"/>
                  <a:gd name="T17" fmla="*/ 21600 h 21600"/>
                  <a:gd name="T18" fmla="*/ 0 w 21600"/>
                  <a:gd name="T19" fmla="*/ 11528 h 21600"/>
                  <a:gd name="T20" fmla="*/ 459 w 21600"/>
                  <a:gd name="T21" fmla="*/ 22540 h 21600"/>
                  <a:gd name="T22" fmla="*/ 21485 w 21600"/>
                  <a:gd name="T23" fmla="*/ 270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T20" t="T21" r="T22" b="T23"/>
                <a:pathLst>
                  <a:path w="21600" h="21600" extrusionOk="0">
                    <a:moveTo>
                      <a:pt x="0" y="2184"/>
                    </a:moveTo>
                    <a:lnTo>
                      <a:pt x="6664" y="0"/>
                    </a:lnTo>
                    <a:lnTo>
                      <a:pt x="10800" y="0"/>
                    </a:lnTo>
                    <a:lnTo>
                      <a:pt x="21600" y="0"/>
                    </a:lnTo>
                    <a:lnTo>
                      <a:pt x="21600" y="11649"/>
                    </a:lnTo>
                    <a:lnTo>
                      <a:pt x="21600" y="19416"/>
                    </a:lnTo>
                    <a:lnTo>
                      <a:pt x="15166" y="21600"/>
                    </a:lnTo>
                    <a:lnTo>
                      <a:pt x="10570" y="21600"/>
                    </a:lnTo>
                    <a:lnTo>
                      <a:pt x="0" y="21600"/>
                    </a:lnTo>
                    <a:lnTo>
                      <a:pt x="0" y="11528"/>
                    </a:lnTo>
                    <a:lnTo>
                      <a:pt x="0" y="2184"/>
                    </a:lnTo>
                    <a:close/>
                  </a:path>
                  <a:path w="21600" h="21600" extrusionOk="0">
                    <a:moveTo>
                      <a:pt x="0" y="2184"/>
                    </a:moveTo>
                    <a:lnTo>
                      <a:pt x="0" y="2184"/>
                    </a:lnTo>
                    <a:lnTo>
                      <a:pt x="14706" y="2184"/>
                    </a:lnTo>
                    <a:lnTo>
                      <a:pt x="21600" y="0"/>
                    </a:lnTo>
                    <a:moveTo>
                      <a:pt x="0" y="2184"/>
                    </a:moveTo>
                    <a:lnTo>
                      <a:pt x="14706" y="2184"/>
                    </a:lnTo>
                    <a:lnTo>
                      <a:pt x="14706" y="5339"/>
                    </a:lnTo>
                    <a:lnTo>
                      <a:pt x="14706" y="17474"/>
                    </a:lnTo>
                    <a:lnTo>
                      <a:pt x="14706" y="21600"/>
                    </a:lnTo>
                    <a:moveTo>
                      <a:pt x="1149" y="3034"/>
                    </a:moveTo>
                    <a:lnTo>
                      <a:pt x="13328" y="3034"/>
                    </a:lnTo>
                    <a:lnTo>
                      <a:pt x="13328" y="3519"/>
                    </a:lnTo>
                    <a:lnTo>
                      <a:pt x="1149" y="3519"/>
                    </a:lnTo>
                    <a:lnTo>
                      <a:pt x="1149" y="3034"/>
                    </a:lnTo>
                    <a:moveTo>
                      <a:pt x="1149" y="4490"/>
                    </a:moveTo>
                    <a:lnTo>
                      <a:pt x="13328" y="4490"/>
                    </a:lnTo>
                    <a:lnTo>
                      <a:pt x="13328" y="4854"/>
                    </a:lnTo>
                    <a:lnTo>
                      <a:pt x="1149" y="4854"/>
                    </a:lnTo>
                    <a:lnTo>
                      <a:pt x="1149" y="4490"/>
                    </a:lnTo>
                    <a:moveTo>
                      <a:pt x="1149" y="5946"/>
                    </a:moveTo>
                    <a:lnTo>
                      <a:pt x="13328" y="5946"/>
                    </a:lnTo>
                    <a:lnTo>
                      <a:pt x="13328" y="6310"/>
                    </a:lnTo>
                    <a:lnTo>
                      <a:pt x="1149" y="6310"/>
                    </a:lnTo>
                    <a:lnTo>
                      <a:pt x="1149" y="5946"/>
                    </a:lnTo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903"/>
                <a:endParaRPr lang="en-US" sz="17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4303989" y="2995351"/>
              <a:ext cx="5788960" cy="4792815"/>
              <a:chOff x="4303989" y="2995351"/>
              <a:chExt cx="5788960" cy="4792815"/>
            </a:xfrm>
          </p:grpSpPr>
          <p:sp>
            <p:nvSpPr>
              <p:cNvPr id="85" name="TextBox 84"/>
              <p:cNvSpPr txBox="1"/>
              <p:nvPr/>
            </p:nvSpPr>
            <p:spPr>
              <a:xfrm>
                <a:off x="8081675" y="5391758"/>
                <a:ext cx="2011274" cy="218008"/>
              </a:xfrm>
              <a:prstGeom prst="rect">
                <a:avLst/>
              </a:prstGeom>
              <a:noFill/>
              <a:effectLst/>
            </p:spPr>
            <p:txBody>
              <a:bodyPr wrap="square" lIns="0" tIns="0" rIns="0" bIns="0" rtlCol="0">
                <a:spAutoFit/>
              </a:bodyPr>
              <a:lstStyle/>
              <a:p>
                <a:pPr defTabSz="761528"/>
                <a:r>
                  <a:rPr lang="en-US" sz="140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On-premise subnets</a:t>
                </a:r>
              </a:p>
            </p:txBody>
          </p:sp>
          <p:grpSp>
            <p:nvGrpSpPr>
              <p:cNvPr id="86" name="Group 85"/>
              <p:cNvGrpSpPr/>
              <p:nvPr/>
            </p:nvGrpSpPr>
            <p:grpSpPr>
              <a:xfrm>
                <a:off x="4303989" y="2995351"/>
                <a:ext cx="5231984" cy="4792815"/>
                <a:chOff x="4303989" y="2995351"/>
                <a:chExt cx="5231984" cy="4792815"/>
              </a:xfrm>
            </p:grpSpPr>
            <p:grpSp>
              <p:nvGrpSpPr>
                <p:cNvPr id="87" name="Group 86"/>
                <p:cNvGrpSpPr/>
                <p:nvPr/>
              </p:nvGrpSpPr>
              <p:grpSpPr>
                <a:xfrm>
                  <a:off x="7121893" y="3568825"/>
                  <a:ext cx="376932" cy="579302"/>
                  <a:chOff x="3341266" y="2592264"/>
                  <a:chExt cx="452436" cy="695162"/>
                </a:xfrm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105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3341266" y="2592265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06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3575162" y="2592264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07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3356622" y="2823985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08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3563071" y="2823984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  <a:effectLst/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grpSp>
              <p:nvGrpSpPr>
                <p:cNvPr id="88" name="Group 87"/>
                <p:cNvGrpSpPr/>
                <p:nvPr/>
              </p:nvGrpSpPr>
              <p:grpSpPr>
                <a:xfrm>
                  <a:off x="8314502" y="4567271"/>
                  <a:ext cx="669859" cy="579303"/>
                  <a:chOff x="4614286" y="3865578"/>
                  <a:chExt cx="804040" cy="695163"/>
                </a:xfrm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97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4614286" y="3865579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5"/>
                  </a:lnRef>
                  <a:fillRef idx="1">
                    <a:schemeClr val="lt1"/>
                  </a:fillRef>
                  <a:effectRef idx="0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98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4848182" y="3865578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5"/>
                  </a:lnRef>
                  <a:fillRef idx="1">
                    <a:schemeClr val="lt1"/>
                  </a:fillRef>
                  <a:effectRef idx="0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99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4629642" y="4097299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5"/>
                  </a:lnRef>
                  <a:fillRef idx="1">
                    <a:schemeClr val="lt1"/>
                  </a:fillRef>
                  <a:effectRef idx="0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00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4836091" y="4097298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5"/>
                  </a:lnRef>
                  <a:fillRef idx="1">
                    <a:schemeClr val="lt1"/>
                  </a:fillRef>
                  <a:effectRef idx="0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01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4965890" y="3865580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5"/>
                  </a:lnRef>
                  <a:fillRef idx="1">
                    <a:schemeClr val="lt1"/>
                  </a:fillRef>
                  <a:effectRef idx="0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02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5199786" y="3865579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5"/>
                  </a:lnRef>
                  <a:fillRef idx="1">
                    <a:schemeClr val="lt1"/>
                  </a:fillRef>
                  <a:effectRef idx="0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03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4981246" y="4097300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5"/>
                  </a:lnRef>
                  <a:fillRef idx="1">
                    <a:schemeClr val="lt1"/>
                  </a:fillRef>
                  <a:effectRef idx="0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04" name="tower"/>
                  <p:cNvSpPr>
                    <a:spLocks noEditPoints="1" noChangeArrowheads="1"/>
                  </p:cNvSpPr>
                  <p:nvPr/>
                </p:nvSpPr>
                <p:spPr bwMode="auto">
                  <a:xfrm>
                    <a:off x="5187695" y="4097299"/>
                    <a:ext cx="218540" cy="463441"/>
                  </a:xfrm>
                  <a:custGeom>
                    <a:avLst/>
                    <a:gdLst>
                      <a:gd name="T0" fmla="*/ 0 w 21600"/>
                      <a:gd name="T1" fmla="*/ 2184 h 21600"/>
                      <a:gd name="T2" fmla="*/ 6664 w 21600"/>
                      <a:gd name="T3" fmla="*/ 0 h 21600"/>
                      <a:gd name="T4" fmla="*/ 10800 w 21600"/>
                      <a:gd name="T5" fmla="*/ 0 h 21600"/>
                      <a:gd name="T6" fmla="*/ 21600 w 21600"/>
                      <a:gd name="T7" fmla="*/ 0 h 21600"/>
                      <a:gd name="T8" fmla="*/ 21600 w 21600"/>
                      <a:gd name="T9" fmla="*/ 11649 h 21600"/>
                      <a:gd name="T10" fmla="*/ 21600 w 21600"/>
                      <a:gd name="T11" fmla="*/ 19416 h 21600"/>
                      <a:gd name="T12" fmla="*/ 15166 w 21600"/>
                      <a:gd name="T13" fmla="*/ 21600 h 21600"/>
                      <a:gd name="T14" fmla="*/ 10570 w 21600"/>
                      <a:gd name="T15" fmla="*/ 21600 h 21600"/>
                      <a:gd name="T16" fmla="*/ 0 w 21600"/>
                      <a:gd name="T17" fmla="*/ 21600 h 21600"/>
                      <a:gd name="T18" fmla="*/ 0 w 21600"/>
                      <a:gd name="T19" fmla="*/ 11528 h 21600"/>
                      <a:gd name="T20" fmla="*/ 459 w 21600"/>
                      <a:gd name="T21" fmla="*/ 22540 h 21600"/>
                      <a:gd name="T22" fmla="*/ 21485 w 21600"/>
                      <a:gd name="T23" fmla="*/ 270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T20" t="T21" r="T22" b="T23"/>
                    <a:pathLst>
                      <a:path w="21600" h="21600" extrusionOk="0">
                        <a:moveTo>
                          <a:pt x="0" y="2184"/>
                        </a:moveTo>
                        <a:lnTo>
                          <a:pt x="6664" y="0"/>
                        </a:lnTo>
                        <a:lnTo>
                          <a:pt x="10800" y="0"/>
                        </a:lnTo>
                        <a:lnTo>
                          <a:pt x="21600" y="0"/>
                        </a:lnTo>
                        <a:lnTo>
                          <a:pt x="21600" y="11649"/>
                        </a:lnTo>
                        <a:lnTo>
                          <a:pt x="21600" y="19416"/>
                        </a:lnTo>
                        <a:lnTo>
                          <a:pt x="15166" y="21600"/>
                        </a:lnTo>
                        <a:lnTo>
                          <a:pt x="10570" y="21600"/>
                        </a:lnTo>
                        <a:lnTo>
                          <a:pt x="0" y="21600"/>
                        </a:lnTo>
                        <a:lnTo>
                          <a:pt x="0" y="11528"/>
                        </a:lnTo>
                        <a:lnTo>
                          <a:pt x="0" y="2184"/>
                        </a:lnTo>
                        <a:close/>
                      </a:path>
                      <a:path w="21600" h="21600" extrusionOk="0">
                        <a:moveTo>
                          <a:pt x="0" y="2184"/>
                        </a:moveTo>
                        <a:lnTo>
                          <a:pt x="0" y="2184"/>
                        </a:lnTo>
                        <a:lnTo>
                          <a:pt x="14706" y="2184"/>
                        </a:lnTo>
                        <a:lnTo>
                          <a:pt x="21600" y="0"/>
                        </a:lnTo>
                        <a:moveTo>
                          <a:pt x="0" y="2184"/>
                        </a:moveTo>
                        <a:lnTo>
                          <a:pt x="14706" y="2184"/>
                        </a:lnTo>
                        <a:lnTo>
                          <a:pt x="14706" y="5339"/>
                        </a:lnTo>
                        <a:lnTo>
                          <a:pt x="14706" y="17474"/>
                        </a:lnTo>
                        <a:lnTo>
                          <a:pt x="14706" y="21600"/>
                        </a:lnTo>
                        <a:moveTo>
                          <a:pt x="1149" y="3034"/>
                        </a:moveTo>
                        <a:lnTo>
                          <a:pt x="13328" y="3034"/>
                        </a:lnTo>
                        <a:lnTo>
                          <a:pt x="13328" y="3519"/>
                        </a:lnTo>
                        <a:lnTo>
                          <a:pt x="1149" y="3519"/>
                        </a:lnTo>
                        <a:lnTo>
                          <a:pt x="1149" y="3034"/>
                        </a:lnTo>
                        <a:moveTo>
                          <a:pt x="1149" y="4490"/>
                        </a:moveTo>
                        <a:lnTo>
                          <a:pt x="13328" y="4490"/>
                        </a:lnTo>
                        <a:lnTo>
                          <a:pt x="13328" y="4854"/>
                        </a:lnTo>
                        <a:lnTo>
                          <a:pt x="1149" y="4854"/>
                        </a:lnTo>
                        <a:lnTo>
                          <a:pt x="1149" y="4490"/>
                        </a:lnTo>
                        <a:moveTo>
                          <a:pt x="1149" y="5946"/>
                        </a:moveTo>
                        <a:lnTo>
                          <a:pt x="13328" y="5946"/>
                        </a:lnTo>
                        <a:lnTo>
                          <a:pt x="13328" y="6310"/>
                        </a:lnTo>
                        <a:lnTo>
                          <a:pt x="1149" y="6310"/>
                        </a:lnTo>
                        <a:lnTo>
                          <a:pt x="1149" y="5946"/>
                        </a:lnTo>
                      </a:path>
                    </a:pathLst>
                  </a:custGeom>
                  <a:ln>
                    <a:headEnd/>
                    <a:tailEnd/>
                  </a:ln>
                </p:spPr>
                <p:style>
                  <a:lnRef idx="2">
                    <a:schemeClr val="accent5"/>
                  </a:lnRef>
                  <a:fillRef idx="1">
                    <a:schemeClr val="lt1"/>
                  </a:fillRef>
                  <a:effectRef idx="0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cxnSp>
              <p:nvCxnSpPr>
                <p:cNvPr id="89" name="Straight Connector 88"/>
                <p:cNvCxnSpPr>
                  <a:stCxn id="106" idx="4"/>
                </p:cNvCxnSpPr>
                <p:nvPr/>
              </p:nvCxnSpPr>
              <p:spPr>
                <a:xfrm flipV="1">
                  <a:off x="7498825" y="3761927"/>
                  <a:ext cx="515309" cy="15179"/>
                </a:xfrm>
                <a:prstGeom prst="line">
                  <a:avLst/>
                </a:prstGeom>
                <a:ln w="1270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Straight Connector 89"/>
                <p:cNvCxnSpPr/>
                <p:nvPr/>
              </p:nvCxnSpPr>
              <p:spPr>
                <a:xfrm flipV="1">
                  <a:off x="7559989" y="4018047"/>
                  <a:ext cx="731827" cy="549226"/>
                </a:xfrm>
                <a:prstGeom prst="line">
                  <a:avLst/>
                </a:prstGeom>
                <a:ln w="12700">
                  <a:solidFill>
                    <a:schemeClr val="accent3">
                      <a:lumMod val="40000"/>
                      <a:lumOff val="60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Straight Connector 90"/>
                <p:cNvCxnSpPr>
                  <a:stCxn id="98" idx="0"/>
                </p:cNvCxnSpPr>
                <p:nvPr/>
              </p:nvCxnSpPr>
              <p:spPr>
                <a:xfrm flipV="1">
                  <a:off x="8509364" y="4124988"/>
                  <a:ext cx="0" cy="481333"/>
                </a:xfrm>
                <a:prstGeom prst="line">
                  <a:avLst/>
                </a:prstGeom>
                <a:ln w="12700">
                  <a:solidFill>
                    <a:schemeClr val="accent3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92" name="Group 91"/>
                <p:cNvGrpSpPr/>
                <p:nvPr/>
              </p:nvGrpSpPr>
              <p:grpSpPr>
                <a:xfrm>
                  <a:off x="4303989" y="2995351"/>
                  <a:ext cx="5231984" cy="4792815"/>
                  <a:chOff x="4209393" y="2995351"/>
                  <a:chExt cx="5231984" cy="4792815"/>
                </a:xfrm>
              </p:grpSpPr>
              <p:cxnSp>
                <p:nvCxnSpPr>
                  <p:cNvPr id="94" name="Straight Connector 93"/>
                  <p:cNvCxnSpPr/>
                  <p:nvPr/>
                </p:nvCxnSpPr>
                <p:spPr>
                  <a:xfrm flipV="1">
                    <a:off x="6794938" y="2995351"/>
                    <a:ext cx="17694" cy="2380693"/>
                  </a:xfrm>
                  <a:prstGeom prst="line">
                    <a:avLst/>
                  </a:prstGeom>
                  <a:ln w="28575">
                    <a:solidFill>
                      <a:schemeClr val="accent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/>
                  <p:cNvCxnSpPr/>
                  <p:nvPr/>
                </p:nvCxnSpPr>
                <p:spPr>
                  <a:xfrm>
                    <a:off x="6812632" y="5370783"/>
                    <a:ext cx="2628745" cy="5260"/>
                  </a:xfrm>
                  <a:prstGeom prst="line">
                    <a:avLst/>
                  </a:prstGeom>
                  <a:ln w="28575">
                    <a:solidFill>
                      <a:schemeClr val="accent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6" name="Arc 95"/>
                  <p:cNvSpPr/>
                  <p:nvPr/>
                </p:nvSpPr>
                <p:spPr>
                  <a:xfrm>
                    <a:off x="4209393" y="2995351"/>
                    <a:ext cx="5194760" cy="4792815"/>
                  </a:xfrm>
                  <a:prstGeom prst="arc">
                    <a:avLst/>
                  </a:prstGeom>
                  <a:ln w="28575">
                    <a:solidFill>
                      <a:schemeClr val="accent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913903"/>
                    <a:endParaRPr lang="en-US" sz="17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93" name="Freeform 207"/>
                <p:cNvSpPr>
                  <a:spLocks noEditPoints="1"/>
                </p:cNvSpPr>
                <p:nvPr/>
              </p:nvSpPr>
              <p:spPr bwMode="black">
                <a:xfrm>
                  <a:off x="7905265" y="3640299"/>
                  <a:ext cx="921144" cy="417927"/>
                </a:xfrm>
                <a:custGeom>
                  <a:avLst/>
                  <a:gdLst>
                    <a:gd name="T0" fmla="*/ 1583 w 1601"/>
                    <a:gd name="T1" fmla="*/ 409 h 1191"/>
                    <a:gd name="T2" fmla="*/ 891 w 1601"/>
                    <a:gd name="T3" fmla="*/ 6 h 1191"/>
                    <a:gd name="T4" fmla="*/ 841 w 1601"/>
                    <a:gd name="T5" fmla="*/ 6 h 1191"/>
                    <a:gd name="T6" fmla="*/ 861 w 1601"/>
                    <a:gd name="T7" fmla="*/ 834 h 1191"/>
                    <a:gd name="T8" fmla="*/ 596 w 1601"/>
                    <a:gd name="T9" fmla="*/ 987 h 1191"/>
                    <a:gd name="T10" fmla="*/ 148 w 1601"/>
                    <a:gd name="T11" fmla="*/ 797 h 1191"/>
                    <a:gd name="T12" fmla="*/ 200 w 1601"/>
                    <a:gd name="T13" fmla="*/ 762 h 1191"/>
                    <a:gd name="T14" fmla="*/ 886 w 1601"/>
                    <a:gd name="T15" fmla="*/ 1163 h 1191"/>
                    <a:gd name="T16" fmla="*/ 853 w 1601"/>
                    <a:gd name="T17" fmla="*/ 1191 h 1191"/>
                    <a:gd name="T18" fmla="*/ 677 w 1601"/>
                    <a:gd name="T19" fmla="*/ 1097 h 1191"/>
                    <a:gd name="T20" fmla="*/ 730 w 1601"/>
                    <a:gd name="T21" fmla="*/ 1062 h 1191"/>
                    <a:gd name="T22" fmla="*/ 831 w 1601"/>
                    <a:gd name="T23" fmla="*/ 926 h 1191"/>
                    <a:gd name="T24" fmla="*/ 56 w 1601"/>
                    <a:gd name="T25" fmla="*/ 679 h 1191"/>
                    <a:gd name="T26" fmla="*/ 66 w 1601"/>
                    <a:gd name="T27" fmla="*/ 687 h 1191"/>
                    <a:gd name="T28" fmla="*/ 27 w 1601"/>
                    <a:gd name="T29" fmla="*/ 728 h 1191"/>
                    <a:gd name="T30" fmla="*/ 0 w 1601"/>
                    <a:gd name="T31" fmla="*/ 691 h 1191"/>
                    <a:gd name="T32" fmla="*/ 17 w 1601"/>
                    <a:gd name="T33" fmla="*/ 416 h 1191"/>
                    <a:gd name="T34" fmla="*/ 96 w 1601"/>
                    <a:gd name="T35" fmla="*/ 442 h 1191"/>
                    <a:gd name="T36" fmla="*/ 877 w 1601"/>
                    <a:gd name="T37" fmla="*/ 881 h 1191"/>
                    <a:gd name="T38" fmla="*/ 1600 w 1601"/>
                    <a:gd name="T39" fmla="*/ 438 h 1191"/>
                    <a:gd name="T40" fmla="*/ 1601 w 1601"/>
                    <a:gd name="T41" fmla="*/ 669 h 1191"/>
                    <a:gd name="T42" fmla="*/ 919 w 1601"/>
                    <a:gd name="T43" fmla="*/ 1087 h 1191"/>
                    <a:gd name="T44" fmla="*/ 894 w 1601"/>
                    <a:gd name="T45" fmla="*/ 853 h 1191"/>
                    <a:gd name="T46" fmla="*/ 525 w 1601"/>
                    <a:gd name="T47" fmla="*/ 886 h 1191"/>
                    <a:gd name="T48" fmla="*/ 316 w 1601"/>
                    <a:gd name="T49" fmla="*/ 770 h 1191"/>
                    <a:gd name="T50" fmla="*/ 300 w 1601"/>
                    <a:gd name="T51" fmla="*/ 721 h 1191"/>
                    <a:gd name="T52" fmla="*/ 523 w 1601"/>
                    <a:gd name="T53" fmla="*/ 822 h 1191"/>
                    <a:gd name="T54" fmla="*/ 539 w 1601"/>
                    <a:gd name="T55" fmla="*/ 870 h 1191"/>
                    <a:gd name="T56" fmla="*/ 712 w 1601"/>
                    <a:gd name="T57" fmla="*/ 1033 h 1191"/>
                    <a:gd name="T58" fmla="*/ 648 w 1601"/>
                    <a:gd name="T59" fmla="*/ 1091 h 1191"/>
                    <a:gd name="T60" fmla="*/ 617 w 1601"/>
                    <a:gd name="T61" fmla="*/ 1070 h 1191"/>
                    <a:gd name="T62" fmla="*/ 625 w 1601"/>
                    <a:gd name="T63" fmla="*/ 914 h 1191"/>
                    <a:gd name="T64" fmla="*/ 712 w 1601"/>
                    <a:gd name="T65" fmla="*/ 885 h 1191"/>
                    <a:gd name="T66" fmla="*/ 708 w 1601"/>
                    <a:gd name="T67" fmla="*/ 909 h 1191"/>
                    <a:gd name="T68" fmla="*/ 659 w 1601"/>
                    <a:gd name="T69" fmla="*/ 1044 h 1191"/>
                    <a:gd name="T70" fmla="*/ 712 w 1601"/>
                    <a:gd name="T71" fmla="*/ 1033 h 1191"/>
                    <a:gd name="T72" fmla="*/ 177 w 1601"/>
                    <a:gd name="T73" fmla="*/ 756 h 1191"/>
                    <a:gd name="T74" fmla="*/ 92 w 1601"/>
                    <a:gd name="T75" fmla="*/ 786 h 1191"/>
                    <a:gd name="T76" fmla="*/ 86 w 1601"/>
                    <a:gd name="T77" fmla="*/ 632 h 1191"/>
                    <a:gd name="T78" fmla="*/ 154 w 1601"/>
                    <a:gd name="T79" fmla="*/ 580 h 1191"/>
                    <a:gd name="T80" fmla="*/ 181 w 1601"/>
                    <a:gd name="T81" fmla="*/ 585 h 1191"/>
                    <a:gd name="T82" fmla="*/ 129 w 1601"/>
                    <a:gd name="T83" fmla="*/ 637 h 1191"/>
                    <a:gd name="T84" fmla="*/ 154 w 1601"/>
                    <a:gd name="T85" fmla="*/ 729 h 1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601" h="1191">
                      <a:moveTo>
                        <a:pt x="861" y="834"/>
                      </a:moveTo>
                      <a:cubicBezTo>
                        <a:pt x="1583" y="409"/>
                        <a:pt x="1583" y="409"/>
                        <a:pt x="1583" y="409"/>
                      </a:cubicBezTo>
                      <a:cubicBezTo>
                        <a:pt x="1581" y="407"/>
                        <a:pt x="1579" y="406"/>
                        <a:pt x="1576" y="404"/>
                      </a:cubicBezTo>
                      <a:cubicBezTo>
                        <a:pt x="891" y="6"/>
                        <a:pt x="891" y="6"/>
                        <a:pt x="891" y="6"/>
                      </a:cubicBezTo>
                      <a:cubicBezTo>
                        <a:pt x="884" y="2"/>
                        <a:pt x="875" y="0"/>
                        <a:pt x="866" y="0"/>
                      </a:cubicBezTo>
                      <a:cubicBezTo>
                        <a:pt x="857" y="0"/>
                        <a:pt x="848" y="2"/>
                        <a:pt x="841" y="6"/>
                      </a:cubicBezTo>
                      <a:cubicBezTo>
                        <a:pt x="130" y="422"/>
                        <a:pt x="130" y="422"/>
                        <a:pt x="130" y="422"/>
                      </a:cubicBezTo>
                      <a:lnTo>
                        <a:pt x="861" y="834"/>
                      </a:lnTo>
                      <a:close/>
                      <a:moveTo>
                        <a:pt x="200" y="762"/>
                      </a:moveTo>
                      <a:cubicBezTo>
                        <a:pt x="596" y="987"/>
                        <a:pt x="596" y="987"/>
                        <a:pt x="596" y="987"/>
                      </a:cubicBezTo>
                      <a:cubicBezTo>
                        <a:pt x="596" y="1051"/>
                        <a:pt x="596" y="1051"/>
                        <a:pt x="596" y="1051"/>
                      </a:cubicBezTo>
                      <a:cubicBezTo>
                        <a:pt x="148" y="797"/>
                        <a:pt x="148" y="797"/>
                        <a:pt x="148" y="797"/>
                      </a:cubicBezTo>
                      <a:cubicBezTo>
                        <a:pt x="188" y="773"/>
                        <a:pt x="188" y="773"/>
                        <a:pt x="188" y="773"/>
                      </a:cubicBezTo>
                      <a:cubicBezTo>
                        <a:pt x="192" y="771"/>
                        <a:pt x="197" y="767"/>
                        <a:pt x="200" y="762"/>
                      </a:cubicBezTo>
                      <a:close/>
                      <a:moveTo>
                        <a:pt x="886" y="897"/>
                      </a:moveTo>
                      <a:cubicBezTo>
                        <a:pt x="886" y="1163"/>
                        <a:pt x="886" y="1163"/>
                        <a:pt x="886" y="1163"/>
                      </a:cubicBezTo>
                      <a:cubicBezTo>
                        <a:pt x="884" y="1173"/>
                        <a:pt x="878" y="1182"/>
                        <a:pt x="870" y="1187"/>
                      </a:cubicBezTo>
                      <a:cubicBezTo>
                        <a:pt x="865" y="1190"/>
                        <a:pt x="859" y="1191"/>
                        <a:pt x="853" y="1191"/>
                      </a:cubicBezTo>
                      <a:cubicBezTo>
                        <a:pt x="847" y="1191"/>
                        <a:pt x="840" y="1190"/>
                        <a:pt x="834" y="1186"/>
                      </a:cubicBezTo>
                      <a:cubicBezTo>
                        <a:pt x="677" y="1097"/>
                        <a:pt x="677" y="1097"/>
                        <a:pt x="677" y="1097"/>
                      </a:cubicBezTo>
                      <a:cubicBezTo>
                        <a:pt x="718" y="1073"/>
                        <a:pt x="718" y="1073"/>
                        <a:pt x="718" y="1073"/>
                      </a:cubicBezTo>
                      <a:cubicBezTo>
                        <a:pt x="723" y="1071"/>
                        <a:pt x="727" y="1067"/>
                        <a:pt x="730" y="1062"/>
                      </a:cubicBezTo>
                      <a:cubicBezTo>
                        <a:pt x="831" y="1120"/>
                        <a:pt x="831" y="1120"/>
                        <a:pt x="831" y="1120"/>
                      </a:cubicBezTo>
                      <a:cubicBezTo>
                        <a:pt x="831" y="926"/>
                        <a:pt x="831" y="926"/>
                        <a:pt x="831" y="926"/>
                      </a:cubicBezTo>
                      <a:cubicBezTo>
                        <a:pt x="56" y="483"/>
                        <a:pt x="56" y="483"/>
                        <a:pt x="56" y="483"/>
                      </a:cubicBezTo>
                      <a:cubicBezTo>
                        <a:pt x="56" y="679"/>
                        <a:pt x="56" y="679"/>
                        <a:pt x="56" y="679"/>
                      </a:cubicBezTo>
                      <a:cubicBezTo>
                        <a:pt x="57" y="681"/>
                        <a:pt x="57" y="681"/>
                        <a:pt x="57" y="681"/>
                      </a:cubicBezTo>
                      <a:cubicBezTo>
                        <a:pt x="66" y="687"/>
                        <a:pt x="66" y="687"/>
                        <a:pt x="66" y="687"/>
                      </a:cubicBezTo>
                      <a:cubicBezTo>
                        <a:pt x="66" y="750"/>
                        <a:pt x="66" y="750"/>
                        <a:pt x="66" y="750"/>
                      </a:cubicBezTo>
                      <a:cubicBezTo>
                        <a:pt x="27" y="728"/>
                        <a:pt x="27" y="728"/>
                        <a:pt x="27" y="728"/>
                      </a:cubicBezTo>
                      <a:cubicBezTo>
                        <a:pt x="4" y="710"/>
                        <a:pt x="4" y="710"/>
                        <a:pt x="4" y="710"/>
                      </a:cubicBezTo>
                      <a:cubicBezTo>
                        <a:pt x="0" y="691"/>
                        <a:pt x="0" y="691"/>
                        <a:pt x="0" y="691"/>
                      </a:cubicBezTo>
                      <a:cubicBezTo>
                        <a:pt x="0" y="448"/>
                        <a:pt x="0" y="448"/>
                        <a:pt x="0" y="448"/>
                      </a:cubicBezTo>
                      <a:cubicBezTo>
                        <a:pt x="0" y="434"/>
                        <a:pt x="6" y="423"/>
                        <a:pt x="17" y="416"/>
                      </a:cubicBezTo>
                      <a:cubicBezTo>
                        <a:pt x="28" y="410"/>
                        <a:pt x="41" y="410"/>
                        <a:pt x="53" y="417"/>
                      </a:cubicBezTo>
                      <a:cubicBezTo>
                        <a:pt x="96" y="442"/>
                        <a:pt x="96" y="442"/>
                        <a:pt x="96" y="442"/>
                      </a:cubicBezTo>
                      <a:cubicBezTo>
                        <a:pt x="97" y="441"/>
                        <a:pt x="97" y="441"/>
                        <a:pt x="97" y="441"/>
                      </a:cubicBezTo>
                      <a:cubicBezTo>
                        <a:pt x="877" y="881"/>
                        <a:pt x="877" y="881"/>
                        <a:pt x="877" y="881"/>
                      </a:cubicBezTo>
                      <a:cubicBezTo>
                        <a:pt x="881" y="883"/>
                        <a:pt x="886" y="892"/>
                        <a:pt x="886" y="897"/>
                      </a:cubicBezTo>
                      <a:close/>
                      <a:moveTo>
                        <a:pt x="1600" y="438"/>
                      </a:moveTo>
                      <a:cubicBezTo>
                        <a:pt x="1601" y="441"/>
                        <a:pt x="1601" y="444"/>
                        <a:pt x="1601" y="448"/>
                      </a:cubicBezTo>
                      <a:cubicBezTo>
                        <a:pt x="1601" y="669"/>
                        <a:pt x="1601" y="669"/>
                        <a:pt x="1601" y="669"/>
                      </a:cubicBezTo>
                      <a:cubicBezTo>
                        <a:pt x="1601" y="686"/>
                        <a:pt x="1591" y="704"/>
                        <a:pt x="1576" y="712"/>
                      </a:cubicBezTo>
                      <a:cubicBezTo>
                        <a:pt x="919" y="1087"/>
                        <a:pt x="919" y="1087"/>
                        <a:pt x="919" y="1087"/>
                      </a:cubicBezTo>
                      <a:cubicBezTo>
                        <a:pt x="919" y="897"/>
                        <a:pt x="919" y="897"/>
                        <a:pt x="919" y="897"/>
                      </a:cubicBezTo>
                      <a:cubicBezTo>
                        <a:pt x="919" y="880"/>
                        <a:pt x="909" y="862"/>
                        <a:pt x="894" y="853"/>
                      </a:cubicBezTo>
                      <a:lnTo>
                        <a:pt x="1600" y="438"/>
                      </a:lnTo>
                      <a:close/>
                      <a:moveTo>
                        <a:pt x="525" y="886"/>
                      </a:moveTo>
                      <a:cubicBezTo>
                        <a:pt x="522" y="886"/>
                        <a:pt x="519" y="885"/>
                        <a:pt x="516" y="884"/>
                      </a:cubicBezTo>
                      <a:cubicBezTo>
                        <a:pt x="316" y="770"/>
                        <a:pt x="316" y="770"/>
                        <a:pt x="316" y="770"/>
                      </a:cubicBezTo>
                      <a:cubicBezTo>
                        <a:pt x="307" y="765"/>
                        <a:pt x="300" y="753"/>
                        <a:pt x="300" y="742"/>
                      </a:cubicBezTo>
                      <a:cubicBezTo>
                        <a:pt x="300" y="721"/>
                        <a:pt x="300" y="721"/>
                        <a:pt x="300" y="721"/>
                      </a:cubicBezTo>
                      <a:cubicBezTo>
                        <a:pt x="300" y="708"/>
                        <a:pt x="311" y="701"/>
                        <a:pt x="323" y="708"/>
                      </a:cubicBezTo>
                      <a:cubicBezTo>
                        <a:pt x="523" y="822"/>
                        <a:pt x="523" y="822"/>
                        <a:pt x="523" y="822"/>
                      </a:cubicBezTo>
                      <a:cubicBezTo>
                        <a:pt x="532" y="827"/>
                        <a:pt x="539" y="839"/>
                        <a:pt x="539" y="849"/>
                      </a:cubicBezTo>
                      <a:cubicBezTo>
                        <a:pt x="539" y="870"/>
                        <a:pt x="539" y="870"/>
                        <a:pt x="539" y="870"/>
                      </a:cubicBezTo>
                      <a:cubicBezTo>
                        <a:pt x="539" y="880"/>
                        <a:pt x="533" y="886"/>
                        <a:pt x="525" y="886"/>
                      </a:cubicBezTo>
                      <a:close/>
                      <a:moveTo>
                        <a:pt x="712" y="1033"/>
                      </a:moveTo>
                      <a:cubicBezTo>
                        <a:pt x="718" y="1040"/>
                        <a:pt x="716" y="1051"/>
                        <a:pt x="708" y="1056"/>
                      </a:cubicBezTo>
                      <a:cubicBezTo>
                        <a:pt x="648" y="1091"/>
                        <a:pt x="648" y="1091"/>
                        <a:pt x="648" y="1091"/>
                      </a:cubicBezTo>
                      <a:cubicBezTo>
                        <a:pt x="640" y="1096"/>
                        <a:pt x="626" y="1090"/>
                        <a:pt x="622" y="1086"/>
                      </a:cubicBezTo>
                      <a:cubicBezTo>
                        <a:pt x="618" y="1082"/>
                        <a:pt x="617" y="1070"/>
                        <a:pt x="617" y="1070"/>
                      </a:cubicBezTo>
                      <a:cubicBezTo>
                        <a:pt x="617" y="932"/>
                        <a:pt x="617" y="932"/>
                        <a:pt x="617" y="932"/>
                      </a:cubicBezTo>
                      <a:cubicBezTo>
                        <a:pt x="617" y="932"/>
                        <a:pt x="618" y="918"/>
                        <a:pt x="625" y="914"/>
                      </a:cubicBezTo>
                      <a:cubicBezTo>
                        <a:pt x="684" y="880"/>
                        <a:pt x="684" y="880"/>
                        <a:pt x="684" y="880"/>
                      </a:cubicBezTo>
                      <a:cubicBezTo>
                        <a:pt x="693" y="875"/>
                        <a:pt x="706" y="878"/>
                        <a:pt x="712" y="885"/>
                      </a:cubicBezTo>
                      <a:cubicBezTo>
                        <a:pt x="712" y="885"/>
                        <a:pt x="712" y="885"/>
                        <a:pt x="712" y="885"/>
                      </a:cubicBezTo>
                      <a:cubicBezTo>
                        <a:pt x="717" y="893"/>
                        <a:pt x="716" y="904"/>
                        <a:pt x="708" y="909"/>
                      </a:cubicBezTo>
                      <a:cubicBezTo>
                        <a:pt x="659" y="937"/>
                        <a:pt x="659" y="937"/>
                        <a:pt x="659" y="937"/>
                      </a:cubicBezTo>
                      <a:cubicBezTo>
                        <a:pt x="659" y="1044"/>
                        <a:pt x="659" y="1044"/>
                        <a:pt x="659" y="1044"/>
                      </a:cubicBezTo>
                      <a:cubicBezTo>
                        <a:pt x="684" y="1029"/>
                        <a:pt x="684" y="1029"/>
                        <a:pt x="684" y="1029"/>
                      </a:cubicBezTo>
                      <a:cubicBezTo>
                        <a:pt x="693" y="1024"/>
                        <a:pt x="706" y="1025"/>
                        <a:pt x="712" y="1033"/>
                      </a:cubicBezTo>
                      <a:close/>
                      <a:moveTo>
                        <a:pt x="182" y="733"/>
                      </a:moveTo>
                      <a:cubicBezTo>
                        <a:pt x="188" y="740"/>
                        <a:pt x="186" y="751"/>
                        <a:pt x="177" y="756"/>
                      </a:cubicBezTo>
                      <a:cubicBezTo>
                        <a:pt x="118" y="791"/>
                        <a:pt x="118" y="791"/>
                        <a:pt x="118" y="791"/>
                      </a:cubicBezTo>
                      <a:cubicBezTo>
                        <a:pt x="109" y="796"/>
                        <a:pt x="96" y="790"/>
                        <a:pt x="92" y="786"/>
                      </a:cubicBezTo>
                      <a:cubicBezTo>
                        <a:pt x="88" y="782"/>
                        <a:pt x="86" y="770"/>
                        <a:pt x="86" y="770"/>
                      </a:cubicBezTo>
                      <a:cubicBezTo>
                        <a:pt x="86" y="632"/>
                        <a:pt x="86" y="632"/>
                        <a:pt x="86" y="632"/>
                      </a:cubicBezTo>
                      <a:cubicBezTo>
                        <a:pt x="86" y="632"/>
                        <a:pt x="88" y="618"/>
                        <a:pt x="95" y="614"/>
                      </a:cubicBezTo>
                      <a:cubicBezTo>
                        <a:pt x="154" y="580"/>
                        <a:pt x="154" y="580"/>
                        <a:pt x="154" y="580"/>
                      </a:cubicBezTo>
                      <a:cubicBezTo>
                        <a:pt x="163" y="575"/>
                        <a:pt x="176" y="578"/>
                        <a:pt x="181" y="585"/>
                      </a:cubicBezTo>
                      <a:cubicBezTo>
                        <a:pt x="181" y="585"/>
                        <a:pt x="181" y="585"/>
                        <a:pt x="181" y="585"/>
                      </a:cubicBezTo>
                      <a:cubicBezTo>
                        <a:pt x="187" y="593"/>
                        <a:pt x="186" y="604"/>
                        <a:pt x="177" y="609"/>
                      </a:cubicBezTo>
                      <a:cubicBezTo>
                        <a:pt x="129" y="637"/>
                        <a:pt x="129" y="637"/>
                        <a:pt x="129" y="637"/>
                      </a:cubicBezTo>
                      <a:cubicBezTo>
                        <a:pt x="129" y="744"/>
                        <a:pt x="129" y="744"/>
                        <a:pt x="129" y="744"/>
                      </a:cubicBezTo>
                      <a:cubicBezTo>
                        <a:pt x="154" y="729"/>
                        <a:pt x="154" y="729"/>
                        <a:pt x="154" y="729"/>
                      </a:cubicBezTo>
                      <a:cubicBezTo>
                        <a:pt x="163" y="724"/>
                        <a:pt x="176" y="725"/>
                        <a:pt x="182" y="733"/>
                      </a:cubicBezTo>
                      <a:close/>
                    </a:path>
                  </a:pathLst>
                </a:custGeom>
                <a:ln/>
                <a:extLst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903"/>
                  <a:endParaRPr lang="en-US" sz="16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</p:grpSp>
      </p:grpSp>
      <p:sp>
        <p:nvSpPr>
          <p:cNvPr id="119" name="small box shadow"/>
          <p:cNvSpPr/>
          <p:nvPr/>
        </p:nvSpPr>
        <p:spPr bwMode="auto">
          <a:xfrm>
            <a:off x="7216587" y="10343799"/>
            <a:ext cx="2647242" cy="413021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>
            <a:softEdge rad="241300"/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04" tIns="45703" rIns="91404" bIns="45703" numCol="1" rtlCol="0" anchor="ctr" anchorCtr="0" compatLnSpc="1">
            <a:prstTxWarp prst="textNoShape">
              <a:avLst/>
            </a:prstTxWarp>
          </a:bodyPr>
          <a:lstStyle/>
          <a:p>
            <a:pPr algn="ctr" defTabSz="913684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18" name="Rectangle 117"/>
          <p:cNvSpPr/>
          <p:nvPr/>
        </p:nvSpPr>
        <p:spPr bwMode="auto">
          <a:xfrm>
            <a:off x="817738" y="3007463"/>
            <a:ext cx="3708300" cy="1352989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6170" tIns="38084" rIns="76170" bIns="38084" numCol="1" rtlCol="0" anchor="t" anchorCtr="0" compatLnSpc="1">
            <a:prstTxWarp prst="textNoShape">
              <a:avLst/>
            </a:prstTxWarp>
          </a:bodyPr>
          <a:lstStyle/>
          <a:p>
            <a:pPr defTabSz="913903">
              <a:lnSpc>
                <a:spcPct val="90000"/>
              </a:lnSpc>
              <a:buSzPct val="90000"/>
              <a:defRPr/>
            </a:pPr>
            <a:r>
              <a:rPr lang="en-US" sz="3200" spc="-100" dirty="0">
                <a:solidFill>
                  <a:schemeClr val="bg1"/>
                </a:solidFill>
                <a:latin typeface="Calibri" panose="020F0502020204030204" pitchFamily="34" charset="0"/>
              </a:rPr>
              <a:t>Virtual Network</a:t>
            </a:r>
          </a:p>
          <a:p>
            <a:pPr marL="3173" lvl="1" defTabSz="913637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SzPct val="80000"/>
              <a:tabLst>
                <a:tab pos="629739" algn="l"/>
              </a:tabLst>
              <a:defRPr/>
            </a:pPr>
            <a:r>
              <a:rPr lang="en-US" sz="1700" spc="-50" dirty="0">
                <a:solidFill>
                  <a:schemeClr val="bg1"/>
                </a:solidFill>
                <a:latin typeface="Calibri" panose="020F0502020204030204" pitchFamily="34" charset="0"/>
              </a:rPr>
              <a:t>For network administrators</a:t>
            </a:r>
          </a:p>
          <a:p>
            <a:pPr marL="3173" lvl="1" defTabSz="913637">
              <a:lnSpc>
                <a:spcPct val="90000"/>
              </a:lnSpc>
              <a:spcBef>
                <a:spcPct val="20000"/>
              </a:spcBef>
              <a:spcAft>
                <a:spcPts val="400"/>
              </a:spcAft>
              <a:buSzPct val="80000"/>
              <a:tabLst>
                <a:tab pos="629739" algn="l"/>
              </a:tabLst>
              <a:defRPr/>
            </a:pPr>
            <a:r>
              <a:rPr lang="en-US" sz="1700" spc="-50" dirty="0">
                <a:solidFill>
                  <a:schemeClr val="bg1"/>
                </a:solidFill>
                <a:latin typeface="Calibri" panose="020F0502020204030204" pitchFamily="34" charset="0"/>
              </a:rPr>
              <a:t>Provides network admins the control to </a:t>
            </a:r>
            <a:br>
              <a:rPr lang="en-US" sz="1700" spc="-5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700" spc="-50" dirty="0">
                <a:solidFill>
                  <a:schemeClr val="bg1"/>
                </a:solidFill>
                <a:latin typeface="Calibri" panose="020F0502020204030204" pitchFamily="34" charset="0"/>
              </a:rPr>
              <a:t>setup subnets in the Cloud and manage </a:t>
            </a:r>
            <a:br>
              <a:rPr lang="en-US" sz="1700" spc="-5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700" spc="-50" dirty="0">
                <a:solidFill>
                  <a:schemeClr val="bg1"/>
                </a:solidFill>
                <a:latin typeface="Calibri" panose="020F0502020204030204" pitchFamily="34" charset="0"/>
              </a:rPr>
              <a:t>them as extensions of on-premise datacenters</a:t>
            </a:r>
          </a:p>
        </p:txBody>
      </p:sp>
      <p:sp>
        <p:nvSpPr>
          <p:cNvPr id="117" name="Title 1"/>
          <p:cNvSpPr>
            <a:spLocks noGrp="1"/>
          </p:cNvSpPr>
          <p:nvPr>
            <p:ph type="title"/>
          </p:nvPr>
        </p:nvSpPr>
        <p:spPr>
          <a:xfrm>
            <a:off x="19720" y="-7"/>
            <a:ext cx="9144000" cy="1260000"/>
          </a:xfrm>
        </p:spPr>
        <p:txBody>
          <a:bodyPr>
            <a:normAutofit/>
          </a:bodyPr>
          <a:lstStyle/>
          <a:p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Windows Azure Networking</a:t>
            </a:r>
            <a:endParaRPr lang="en-US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06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 animBg="1"/>
      <p:bldP spid="55" grpId="0" animBg="1"/>
      <p:bldP spid="56" grpId="0" animBg="1"/>
      <p:bldP spid="76" grpId="0"/>
      <p:bldP spid="80" grpId="0" animBg="1"/>
      <p:bldP spid="8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827" y="12237"/>
            <a:ext cx="9144000" cy="1399032"/>
          </a:xfrm>
        </p:spPr>
        <p:txBody>
          <a:bodyPr>
            <a:normAutofit/>
          </a:bodyPr>
          <a:lstStyle/>
          <a:p>
            <a:r>
              <a:rPr lang="en-IN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Windows Azure Virtual Network</a:t>
            </a:r>
            <a:endParaRPr lang="en-IE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882808"/>
            <a:ext cx="5256584" cy="4714544"/>
          </a:xfrm>
        </p:spPr>
        <p:txBody>
          <a:bodyPr>
            <a:normAutofit fontScale="77500" lnSpcReduction="20000"/>
          </a:bodyPr>
          <a:lstStyle/>
          <a:p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“Virtual</a:t>
            </a:r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” </a:t>
            </a: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atacenter </a:t>
            </a:r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in the cloud</a:t>
            </a:r>
          </a:p>
          <a:p>
            <a:pPr lvl="1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Enables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extension of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Enterprise Networks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into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Windows Azure</a:t>
            </a:r>
          </a:p>
          <a:p>
            <a:pPr lvl="1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Networking on-ramp for migrating existing apps </a:t>
            </a:r>
            <a:b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and services to Windows Azure</a:t>
            </a:r>
          </a:p>
          <a:p>
            <a:pPr lvl="1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Enables “hybrid” apps that span cloud and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on-premises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lvl="1"/>
            <a:endParaRPr lang="en-US" sz="14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P</a:t>
            </a: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rotected </a:t>
            </a:r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private virtual network in the cloud</a:t>
            </a:r>
          </a:p>
          <a:p>
            <a:pPr lvl="1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Enables customers to setup secure private IPv4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networks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fully contained within Windows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Azure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lvl="1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Inter-service DIP-to-DIP communication</a:t>
            </a: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5767662" y="1844826"/>
            <a:ext cx="3124818" cy="4259924"/>
            <a:chOff x="5217728" y="1084660"/>
            <a:chExt cx="3535646" cy="3615928"/>
          </a:xfrm>
        </p:grpSpPr>
        <p:sp>
          <p:nvSpPr>
            <p:cNvPr id="5" name="Rectangle 4"/>
            <p:cNvSpPr/>
            <p:nvPr>
              <p:custDataLst>
                <p:tags r:id="rId1"/>
              </p:custDataLst>
            </p:nvPr>
          </p:nvSpPr>
          <p:spPr bwMode="auto">
            <a:xfrm>
              <a:off x="5217728" y="1084660"/>
              <a:ext cx="3535646" cy="3615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89" tIns="34295" rIns="68562" bIns="68589" numCol="1" spcCol="0" rtlCol="0" anchor="b" anchorCtr="0" compatLnSpc="1">
              <a:prstTxWarp prst="textNoShape">
                <a:avLst/>
              </a:prstTxWarp>
            </a:bodyPr>
            <a:lstStyle/>
            <a:p>
              <a:pPr algn="ctr" defTabSz="514122" fontAlgn="base">
                <a:spcBef>
                  <a:spcPts val="675"/>
                </a:spcBef>
                <a:spcAft>
                  <a:spcPct val="0"/>
                </a:spcAft>
              </a:pPr>
              <a:r>
                <a:rPr lang="en-US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rPr>
                <a:t>Corpnet</a:t>
              </a:r>
            </a:p>
          </p:txBody>
        </p:sp>
        <p:sp>
          <p:nvSpPr>
            <p:cNvPr id="6" name="Oval 5"/>
            <p:cNvSpPr/>
            <p:nvPr>
              <p:custDataLst>
                <p:tags r:id="rId2"/>
              </p:custDataLst>
            </p:nvPr>
          </p:nvSpPr>
          <p:spPr bwMode="auto">
            <a:xfrm>
              <a:off x="5753358" y="3008220"/>
              <a:ext cx="2469523" cy="11658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86" tIns="34293" rIns="68586" bIns="3429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14296" fontAlgn="base">
                <a:spcBef>
                  <a:spcPct val="0"/>
                </a:spcBef>
                <a:spcAft>
                  <a:spcPct val="0"/>
                </a:spcAft>
              </a:pPr>
              <a:endParaRPr lang="en-US" sz="13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5838166" y="1136704"/>
              <a:ext cx="2276815" cy="1525628"/>
              <a:chOff x="7479592" y="1494853"/>
              <a:chExt cx="3649895" cy="2446325"/>
            </a:xfrm>
            <a:solidFill>
              <a:schemeClr val="accent6">
                <a:lumMod val="20000"/>
                <a:lumOff val="80000"/>
              </a:schemeClr>
            </a:solidFill>
          </p:grpSpPr>
          <p:sp>
            <p:nvSpPr>
              <p:cNvPr id="41" name="Freeform 6"/>
              <p:cNvSpPr>
                <a:spLocks/>
              </p:cNvSpPr>
              <p:nvPr/>
            </p:nvSpPr>
            <p:spPr bwMode="auto">
              <a:xfrm>
                <a:off x="7479592" y="1494853"/>
                <a:ext cx="3649895" cy="2446325"/>
              </a:xfrm>
              <a:custGeom>
                <a:avLst/>
                <a:gdLst>
                  <a:gd name="T0" fmla="*/ 239 w 276"/>
                  <a:gd name="T1" fmla="*/ 77 h 185"/>
                  <a:gd name="T2" fmla="*/ 240 w 276"/>
                  <a:gd name="T3" fmla="*/ 65 h 185"/>
                  <a:gd name="T4" fmla="*/ 175 w 276"/>
                  <a:gd name="T5" fmla="*/ 0 h 185"/>
                  <a:gd name="T6" fmla="*/ 116 w 276"/>
                  <a:gd name="T7" fmla="*/ 39 h 185"/>
                  <a:gd name="T8" fmla="*/ 81 w 276"/>
                  <a:gd name="T9" fmla="*/ 24 h 185"/>
                  <a:gd name="T10" fmla="*/ 34 w 276"/>
                  <a:gd name="T11" fmla="*/ 71 h 185"/>
                  <a:gd name="T12" fmla="*/ 35 w 276"/>
                  <a:gd name="T13" fmla="*/ 81 h 185"/>
                  <a:gd name="T14" fmla="*/ 0 w 276"/>
                  <a:gd name="T15" fmla="*/ 131 h 185"/>
                  <a:gd name="T16" fmla="*/ 54 w 276"/>
                  <a:gd name="T17" fmla="*/ 185 h 185"/>
                  <a:gd name="T18" fmla="*/ 220 w 276"/>
                  <a:gd name="T19" fmla="*/ 185 h 185"/>
                  <a:gd name="T20" fmla="*/ 276 w 276"/>
                  <a:gd name="T21" fmla="*/ 129 h 185"/>
                  <a:gd name="T22" fmla="*/ 239 w 276"/>
                  <a:gd name="T23" fmla="*/ 77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6" h="185">
                    <a:moveTo>
                      <a:pt x="239" y="77"/>
                    </a:moveTo>
                    <a:cubicBezTo>
                      <a:pt x="239" y="73"/>
                      <a:pt x="240" y="69"/>
                      <a:pt x="240" y="65"/>
                    </a:cubicBezTo>
                    <a:cubicBezTo>
                      <a:pt x="240" y="29"/>
                      <a:pt x="211" y="0"/>
                      <a:pt x="175" y="0"/>
                    </a:cubicBezTo>
                    <a:cubicBezTo>
                      <a:pt x="148" y="0"/>
                      <a:pt x="126" y="16"/>
                      <a:pt x="116" y="39"/>
                    </a:cubicBezTo>
                    <a:cubicBezTo>
                      <a:pt x="107" y="30"/>
                      <a:pt x="95" y="24"/>
                      <a:pt x="81" y="24"/>
                    </a:cubicBezTo>
                    <a:cubicBezTo>
                      <a:pt x="55" y="24"/>
                      <a:pt x="34" y="45"/>
                      <a:pt x="34" y="71"/>
                    </a:cubicBezTo>
                    <a:cubicBezTo>
                      <a:pt x="34" y="74"/>
                      <a:pt x="34" y="78"/>
                      <a:pt x="35" y="81"/>
                    </a:cubicBezTo>
                    <a:cubicBezTo>
                      <a:pt x="14" y="88"/>
                      <a:pt x="0" y="108"/>
                      <a:pt x="0" y="131"/>
                    </a:cubicBezTo>
                    <a:cubicBezTo>
                      <a:pt x="0" y="161"/>
                      <a:pt x="24" y="185"/>
                      <a:pt x="54" y="185"/>
                    </a:cubicBezTo>
                    <a:cubicBezTo>
                      <a:pt x="220" y="185"/>
                      <a:pt x="220" y="185"/>
                      <a:pt x="220" y="185"/>
                    </a:cubicBezTo>
                    <a:cubicBezTo>
                      <a:pt x="251" y="185"/>
                      <a:pt x="276" y="160"/>
                      <a:pt x="276" y="129"/>
                    </a:cubicBezTo>
                    <a:cubicBezTo>
                      <a:pt x="276" y="105"/>
                      <a:pt x="260" y="84"/>
                      <a:pt x="239" y="7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pPr defTabSz="685294"/>
                <a:endParaRPr lang="en-US" sz="9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8390191" y="1990103"/>
                <a:ext cx="1963196" cy="35607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514122" fontAlgn="base">
                  <a:spcBef>
                    <a:spcPts val="675"/>
                  </a:spcBef>
                  <a:spcAft>
                    <a:spcPct val="0"/>
                  </a:spcAft>
                </a:pPr>
                <a:r>
                  <a:rPr lang="en-US" sz="110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Calibri" panose="020F0502020204030204" pitchFamily="34" charset="0"/>
                  </a:rPr>
                  <a:t>Windows Azure</a:t>
                </a:r>
              </a:p>
            </p:txBody>
          </p:sp>
        </p:grpSp>
        <p:sp>
          <p:nvSpPr>
            <p:cNvPr id="8" name="Rectangle 7"/>
            <p:cNvSpPr/>
            <p:nvPr>
              <p:custDataLst>
                <p:tags r:id="rId3"/>
              </p:custDataLst>
            </p:nvPr>
          </p:nvSpPr>
          <p:spPr>
            <a:xfrm>
              <a:off x="6062482" y="1769040"/>
              <a:ext cx="1783544" cy="685800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 defTabSz="685294"/>
              <a:endParaRPr lang="en-US" sz="14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132517" y="1838342"/>
              <a:ext cx="480185" cy="2057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 defTabSz="685294"/>
              <a:r>
                <a:rPr lang="en-US" sz="7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rPr>
                <a:t>VM 1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292117" y="1838342"/>
              <a:ext cx="480185" cy="2057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 defTabSz="685294"/>
              <a:r>
                <a:rPr lang="en-US" sz="7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rPr>
                <a:t>VM 2</a:t>
              </a:r>
            </a:p>
          </p:txBody>
        </p:sp>
        <p:sp>
          <p:nvSpPr>
            <p:cNvPr id="11" name="Rectangle 10"/>
            <p:cNvSpPr/>
            <p:nvPr>
              <p:custDataLst>
                <p:tags r:id="rId4"/>
              </p:custDataLst>
            </p:nvPr>
          </p:nvSpPr>
          <p:spPr>
            <a:xfrm>
              <a:off x="6712729" y="2187179"/>
              <a:ext cx="480185" cy="2057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295" tIns="34295" rIns="34295" bIns="34295" rtlCol="0" anchor="ctr"/>
            <a:lstStyle/>
            <a:p>
              <a:pPr algn="ctr" defTabSz="685294"/>
              <a:r>
                <a:rPr lang="en-US" sz="7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rPr>
                <a:t>ROLE 1</a:t>
              </a:r>
            </a:p>
          </p:txBody>
        </p:sp>
        <p:cxnSp>
          <p:nvCxnSpPr>
            <p:cNvPr id="12" name="Straight Connector 11"/>
            <p:cNvCxnSpPr>
              <a:stCxn id="9" idx="3"/>
              <a:endCxn id="10" idx="1"/>
            </p:cNvCxnSpPr>
            <p:nvPr>
              <p:custDataLst>
                <p:tags r:id="rId5"/>
              </p:custDataLst>
            </p:nvPr>
          </p:nvCxnSpPr>
          <p:spPr>
            <a:xfrm>
              <a:off x="6612703" y="1941212"/>
              <a:ext cx="679415" cy="0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/>
            <p:cNvSpPr/>
            <p:nvPr>
              <p:custDataLst>
                <p:tags r:id="rId6"/>
              </p:custDataLst>
            </p:nvPr>
          </p:nvSpPr>
          <p:spPr>
            <a:xfrm>
              <a:off x="6095348" y="1804052"/>
              <a:ext cx="1714947" cy="274320"/>
            </a:xfrm>
            <a:prstGeom prst="rect">
              <a:avLst/>
            </a:prstGeom>
            <a:noFill/>
            <a:ln w="12700">
              <a:solidFill>
                <a:schemeClr val="accent5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 defTabSz="685294"/>
              <a:endParaRPr lang="en-US" sz="14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7"/>
              </p:custDataLst>
            </p:nvPr>
          </p:nvSpPr>
          <p:spPr>
            <a:xfrm>
              <a:off x="6678430" y="2152889"/>
              <a:ext cx="548783" cy="274320"/>
            </a:xfrm>
            <a:prstGeom prst="rect">
              <a:avLst/>
            </a:prstGeom>
            <a:noFill/>
            <a:ln w="12700">
              <a:solidFill>
                <a:schemeClr val="accent5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 defTabSz="685294"/>
              <a:endParaRPr lang="en-US" sz="14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15" name="Straight Connector 117"/>
            <p:cNvCxnSpPr>
              <a:stCxn id="9" idx="2"/>
              <a:endCxn id="11" idx="0"/>
            </p:cNvCxnSpPr>
            <p:nvPr>
              <p:custDataLst>
                <p:tags r:id="rId8"/>
              </p:custDataLst>
            </p:nvPr>
          </p:nvCxnSpPr>
          <p:spPr>
            <a:xfrm rot="16200000" flipH="1">
              <a:off x="6591168" y="1825524"/>
              <a:ext cx="143096" cy="58021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/>
            <p:cNvSpPr/>
            <p:nvPr/>
          </p:nvSpPr>
          <p:spPr>
            <a:xfrm>
              <a:off x="6124292" y="2231001"/>
              <a:ext cx="468694" cy="137164"/>
            </a:xfrm>
            <a:prstGeom prst="rect">
              <a:avLst/>
            </a:prstGeom>
          </p:spPr>
          <p:txBody>
            <a:bodyPr wrap="none" lIns="68589" tIns="34295" rIns="68589" bIns="34295">
              <a:spAutoFit/>
            </a:bodyPr>
            <a:lstStyle/>
            <a:p>
              <a:pPr algn="ctr" defTabSz="514122" fontAlgn="base">
                <a:spcBef>
                  <a:spcPts val="675"/>
                </a:spcBef>
                <a:spcAft>
                  <a:spcPct val="0"/>
                </a:spcAft>
              </a:pPr>
              <a:r>
                <a:rPr lang="en-US" sz="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rPr>
                <a:t>Subnet 2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7313910" y="2042896"/>
              <a:ext cx="468694" cy="137164"/>
            </a:xfrm>
            <a:prstGeom prst="rect">
              <a:avLst/>
            </a:prstGeom>
          </p:spPr>
          <p:txBody>
            <a:bodyPr wrap="none" lIns="68589" tIns="34295" rIns="68589" bIns="34295">
              <a:spAutoFit/>
            </a:bodyPr>
            <a:lstStyle/>
            <a:p>
              <a:pPr algn="ctr" defTabSz="514122" fontAlgn="base">
                <a:spcBef>
                  <a:spcPts val="675"/>
                </a:spcBef>
                <a:spcAft>
                  <a:spcPct val="0"/>
                </a:spcAft>
              </a:pPr>
              <a:r>
                <a:rPr lang="en-US" sz="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rPr>
                <a:t>Subnet 1</a:t>
              </a:r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 flipV="1">
              <a:off x="7051842" y="2537116"/>
              <a:ext cx="285072" cy="404852"/>
            </a:xfrm>
            <a:prstGeom prst="straightConnector1">
              <a:avLst/>
            </a:prstGeom>
            <a:ln w="19050">
              <a:solidFill>
                <a:schemeClr val="tx2"/>
              </a:solidFill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6052165" y="3107532"/>
              <a:ext cx="1082728" cy="313808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6386346" y="3086101"/>
              <a:ext cx="702100" cy="531719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6696458" y="3067050"/>
              <a:ext cx="391988" cy="641257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7049146" y="3134321"/>
              <a:ext cx="397357" cy="139086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7241049" y="3421340"/>
              <a:ext cx="183643" cy="286967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7432305" y="3421339"/>
              <a:ext cx="357533" cy="169811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7432305" y="3421340"/>
              <a:ext cx="100649" cy="232186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reeform 6"/>
            <p:cNvSpPr>
              <a:spLocks noEditPoints="1"/>
            </p:cNvSpPr>
            <p:nvPr/>
          </p:nvSpPr>
          <p:spPr bwMode="auto">
            <a:xfrm>
              <a:off x="5855848" y="3385645"/>
              <a:ext cx="181751" cy="308303"/>
            </a:xfrm>
            <a:custGeom>
              <a:avLst/>
              <a:gdLst>
                <a:gd name="T0" fmla="*/ 192 w 221"/>
                <a:gd name="T1" fmla="*/ 0 h 374"/>
                <a:gd name="T2" fmla="*/ 192 w 221"/>
                <a:gd name="T3" fmla="*/ 0 h 374"/>
                <a:gd name="T4" fmla="*/ 221 w 221"/>
                <a:gd name="T5" fmla="*/ 29 h 374"/>
                <a:gd name="T6" fmla="*/ 221 w 221"/>
                <a:gd name="T7" fmla="*/ 345 h 374"/>
                <a:gd name="T8" fmla="*/ 192 w 221"/>
                <a:gd name="T9" fmla="*/ 374 h 374"/>
                <a:gd name="T10" fmla="*/ 29 w 221"/>
                <a:gd name="T11" fmla="*/ 374 h 374"/>
                <a:gd name="T12" fmla="*/ 0 w 221"/>
                <a:gd name="T13" fmla="*/ 345 h 374"/>
                <a:gd name="T14" fmla="*/ 0 w 221"/>
                <a:gd name="T15" fmla="*/ 29 h 374"/>
                <a:gd name="T16" fmla="*/ 29 w 221"/>
                <a:gd name="T17" fmla="*/ 0 h 374"/>
                <a:gd name="T18" fmla="*/ 192 w 221"/>
                <a:gd name="T19" fmla="*/ 0 h 374"/>
                <a:gd name="T20" fmla="*/ 181 w 221"/>
                <a:gd name="T21" fmla="*/ 311 h 374"/>
                <a:gd name="T22" fmla="*/ 49 w 221"/>
                <a:gd name="T23" fmla="*/ 311 h 374"/>
                <a:gd name="T24" fmla="*/ 38 w 221"/>
                <a:gd name="T25" fmla="*/ 299 h 374"/>
                <a:gd name="T26" fmla="*/ 49 w 221"/>
                <a:gd name="T27" fmla="*/ 288 h 374"/>
                <a:gd name="T28" fmla="*/ 181 w 221"/>
                <a:gd name="T29" fmla="*/ 288 h 374"/>
                <a:gd name="T30" fmla="*/ 193 w 221"/>
                <a:gd name="T31" fmla="*/ 299 h 374"/>
                <a:gd name="T32" fmla="*/ 181 w 221"/>
                <a:gd name="T33" fmla="*/ 311 h 374"/>
                <a:gd name="T34" fmla="*/ 181 w 221"/>
                <a:gd name="T35" fmla="*/ 258 h 374"/>
                <a:gd name="T36" fmla="*/ 49 w 221"/>
                <a:gd name="T37" fmla="*/ 258 h 374"/>
                <a:gd name="T38" fmla="*/ 38 w 221"/>
                <a:gd name="T39" fmla="*/ 246 h 374"/>
                <a:gd name="T40" fmla="*/ 49 w 221"/>
                <a:gd name="T41" fmla="*/ 235 h 374"/>
                <a:gd name="T42" fmla="*/ 181 w 221"/>
                <a:gd name="T43" fmla="*/ 235 h 374"/>
                <a:gd name="T44" fmla="*/ 193 w 221"/>
                <a:gd name="T45" fmla="*/ 246 h 374"/>
                <a:gd name="T46" fmla="*/ 181 w 221"/>
                <a:gd name="T47" fmla="*/ 258 h 374"/>
                <a:gd name="T48" fmla="*/ 177 w 221"/>
                <a:gd name="T49" fmla="*/ 194 h 374"/>
                <a:gd name="T50" fmla="*/ 161 w 221"/>
                <a:gd name="T51" fmla="*/ 178 h 374"/>
                <a:gd name="T52" fmla="*/ 177 w 221"/>
                <a:gd name="T53" fmla="*/ 162 h 374"/>
                <a:gd name="T54" fmla="*/ 193 w 221"/>
                <a:gd name="T55" fmla="*/ 178 h 374"/>
                <a:gd name="T56" fmla="*/ 177 w 221"/>
                <a:gd name="T57" fmla="*/ 19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1" h="374">
                  <a:moveTo>
                    <a:pt x="192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208" y="0"/>
                    <a:pt x="221" y="13"/>
                    <a:pt x="221" y="29"/>
                  </a:cubicBezTo>
                  <a:cubicBezTo>
                    <a:pt x="221" y="29"/>
                    <a:pt x="221" y="29"/>
                    <a:pt x="221" y="345"/>
                  </a:cubicBezTo>
                  <a:cubicBezTo>
                    <a:pt x="221" y="361"/>
                    <a:pt x="208" y="374"/>
                    <a:pt x="192" y="374"/>
                  </a:cubicBezTo>
                  <a:cubicBezTo>
                    <a:pt x="192" y="374"/>
                    <a:pt x="192" y="374"/>
                    <a:pt x="29" y="374"/>
                  </a:cubicBezTo>
                  <a:cubicBezTo>
                    <a:pt x="12" y="374"/>
                    <a:pt x="0" y="361"/>
                    <a:pt x="0" y="345"/>
                  </a:cubicBezTo>
                  <a:cubicBezTo>
                    <a:pt x="0" y="345"/>
                    <a:pt x="0" y="345"/>
                    <a:pt x="0" y="29"/>
                  </a:cubicBezTo>
                  <a:cubicBezTo>
                    <a:pt x="0" y="13"/>
                    <a:pt x="12" y="0"/>
                    <a:pt x="29" y="0"/>
                  </a:cubicBezTo>
                  <a:lnTo>
                    <a:pt x="192" y="0"/>
                  </a:lnTo>
                  <a:close/>
                  <a:moveTo>
                    <a:pt x="181" y="311"/>
                  </a:moveTo>
                  <a:cubicBezTo>
                    <a:pt x="49" y="311"/>
                    <a:pt x="49" y="311"/>
                    <a:pt x="49" y="311"/>
                  </a:cubicBezTo>
                  <a:cubicBezTo>
                    <a:pt x="43" y="311"/>
                    <a:pt x="38" y="306"/>
                    <a:pt x="38" y="299"/>
                  </a:cubicBezTo>
                  <a:cubicBezTo>
                    <a:pt x="38" y="293"/>
                    <a:pt x="43" y="288"/>
                    <a:pt x="49" y="288"/>
                  </a:cubicBezTo>
                  <a:cubicBezTo>
                    <a:pt x="181" y="288"/>
                    <a:pt x="181" y="288"/>
                    <a:pt x="181" y="288"/>
                  </a:cubicBezTo>
                  <a:cubicBezTo>
                    <a:pt x="188" y="288"/>
                    <a:pt x="193" y="293"/>
                    <a:pt x="193" y="299"/>
                  </a:cubicBezTo>
                  <a:cubicBezTo>
                    <a:pt x="193" y="306"/>
                    <a:pt x="188" y="311"/>
                    <a:pt x="181" y="311"/>
                  </a:cubicBezTo>
                  <a:close/>
                  <a:moveTo>
                    <a:pt x="181" y="258"/>
                  </a:moveTo>
                  <a:cubicBezTo>
                    <a:pt x="49" y="258"/>
                    <a:pt x="49" y="258"/>
                    <a:pt x="49" y="258"/>
                  </a:cubicBezTo>
                  <a:cubicBezTo>
                    <a:pt x="43" y="258"/>
                    <a:pt x="38" y="253"/>
                    <a:pt x="38" y="246"/>
                  </a:cubicBezTo>
                  <a:cubicBezTo>
                    <a:pt x="38" y="240"/>
                    <a:pt x="43" y="235"/>
                    <a:pt x="49" y="235"/>
                  </a:cubicBezTo>
                  <a:cubicBezTo>
                    <a:pt x="181" y="235"/>
                    <a:pt x="181" y="235"/>
                    <a:pt x="181" y="235"/>
                  </a:cubicBezTo>
                  <a:cubicBezTo>
                    <a:pt x="188" y="235"/>
                    <a:pt x="193" y="240"/>
                    <a:pt x="193" y="246"/>
                  </a:cubicBezTo>
                  <a:cubicBezTo>
                    <a:pt x="193" y="253"/>
                    <a:pt x="188" y="258"/>
                    <a:pt x="181" y="258"/>
                  </a:cubicBezTo>
                  <a:close/>
                  <a:moveTo>
                    <a:pt x="177" y="194"/>
                  </a:moveTo>
                  <a:cubicBezTo>
                    <a:pt x="168" y="194"/>
                    <a:pt x="161" y="187"/>
                    <a:pt x="161" y="178"/>
                  </a:cubicBezTo>
                  <a:cubicBezTo>
                    <a:pt x="161" y="170"/>
                    <a:pt x="168" y="162"/>
                    <a:pt x="177" y="162"/>
                  </a:cubicBezTo>
                  <a:cubicBezTo>
                    <a:pt x="186" y="162"/>
                    <a:pt x="193" y="170"/>
                    <a:pt x="193" y="178"/>
                  </a:cubicBezTo>
                  <a:cubicBezTo>
                    <a:pt x="193" y="187"/>
                    <a:pt x="186" y="194"/>
                    <a:pt x="177" y="194"/>
                  </a:cubicBez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pPr defTabSz="685294"/>
              <a:endParaRPr lang="en-US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" name="Freeform 6"/>
            <p:cNvSpPr>
              <a:spLocks noEditPoints="1"/>
            </p:cNvSpPr>
            <p:nvPr/>
          </p:nvSpPr>
          <p:spPr bwMode="auto">
            <a:xfrm>
              <a:off x="6201219" y="3623770"/>
              <a:ext cx="181751" cy="308303"/>
            </a:xfrm>
            <a:custGeom>
              <a:avLst/>
              <a:gdLst>
                <a:gd name="T0" fmla="*/ 192 w 221"/>
                <a:gd name="T1" fmla="*/ 0 h 374"/>
                <a:gd name="T2" fmla="*/ 192 w 221"/>
                <a:gd name="T3" fmla="*/ 0 h 374"/>
                <a:gd name="T4" fmla="*/ 221 w 221"/>
                <a:gd name="T5" fmla="*/ 29 h 374"/>
                <a:gd name="T6" fmla="*/ 221 w 221"/>
                <a:gd name="T7" fmla="*/ 345 h 374"/>
                <a:gd name="T8" fmla="*/ 192 w 221"/>
                <a:gd name="T9" fmla="*/ 374 h 374"/>
                <a:gd name="T10" fmla="*/ 29 w 221"/>
                <a:gd name="T11" fmla="*/ 374 h 374"/>
                <a:gd name="T12" fmla="*/ 0 w 221"/>
                <a:gd name="T13" fmla="*/ 345 h 374"/>
                <a:gd name="T14" fmla="*/ 0 w 221"/>
                <a:gd name="T15" fmla="*/ 29 h 374"/>
                <a:gd name="T16" fmla="*/ 29 w 221"/>
                <a:gd name="T17" fmla="*/ 0 h 374"/>
                <a:gd name="T18" fmla="*/ 192 w 221"/>
                <a:gd name="T19" fmla="*/ 0 h 374"/>
                <a:gd name="T20" fmla="*/ 181 w 221"/>
                <a:gd name="T21" fmla="*/ 311 h 374"/>
                <a:gd name="T22" fmla="*/ 49 w 221"/>
                <a:gd name="T23" fmla="*/ 311 h 374"/>
                <a:gd name="T24" fmla="*/ 38 w 221"/>
                <a:gd name="T25" fmla="*/ 299 h 374"/>
                <a:gd name="T26" fmla="*/ 49 w 221"/>
                <a:gd name="T27" fmla="*/ 288 h 374"/>
                <a:gd name="T28" fmla="*/ 181 w 221"/>
                <a:gd name="T29" fmla="*/ 288 h 374"/>
                <a:gd name="T30" fmla="*/ 193 w 221"/>
                <a:gd name="T31" fmla="*/ 299 h 374"/>
                <a:gd name="T32" fmla="*/ 181 w 221"/>
                <a:gd name="T33" fmla="*/ 311 h 374"/>
                <a:gd name="T34" fmla="*/ 181 w 221"/>
                <a:gd name="T35" fmla="*/ 258 h 374"/>
                <a:gd name="T36" fmla="*/ 49 w 221"/>
                <a:gd name="T37" fmla="*/ 258 h 374"/>
                <a:gd name="T38" fmla="*/ 38 w 221"/>
                <a:gd name="T39" fmla="*/ 246 h 374"/>
                <a:gd name="T40" fmla="*/ 49 w 221"/>
                <a:gd name="T41" fmla="*/ 235 h 374"/>
                <a:gd name="T42" fmla="*/ 181 w 221"/>
                <a:gd name="T43" fmla="*/ 235 h 374"/>
                <a:gd name="T44" fmla="*/ 193 w 221"/>
                <a:gd name="T45" fmla="*/ 246 h 374"/>
                <a:gd name="T46" fmla="*/ 181 w 221"/>
                <a:gd name="T47" fmla="*/ 258 h 374"/>
                <a:gd name="T48" fmla="*/ 177 w 221"/>
                <a:gd name="T49" fmla="*/ 194 h 374"/>
                <a:gd name="T50" fmla="*/ 161 w 221"/>
                <a:gd name="T51" fmla="*/ 178 h 374"/>
                <a:gd name="T52" fmla="*/ 177 w 221"/>
                <a:gd name="T53" fmla="*/ 162 h 374"/>
                <a:gd name="T54" fmla="*/ 193 w 221"/>
                <a:gd name="T55" fmla="*/ 178 h 374"/>
                <a:gd name="T56" fmla="*/ 177 w 221"/>
                <a:gd name="T57" fmla="*/ 19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1" h="374">
                  <a:moveTo>
                    <a:pt x="192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208" y="0"/>
                    <a:pt x="221" y="13"/>
                    <a:pt x="221" y="29"/>
                  </a:cubicBezTo>
                  <a:cubicBezTo>
                    <a:pt x="221" y="29"/>
                    <a:pt x="221" y="29"/>
                    <a:pt x="221" y="345"/>
                  </a:cubicBezTo>
                  <a:cubicBezTo>
                    <a:pt x="221" y="361"/>
                    <a:pt x="208" y="374"/>
                    <a:pt x="192" y="374"/>
                  </a:cubicBezTo>
                  <a:cubicBezTo>
                    <a:pt x="192" y="374"/>
                    <a:pt x="192" y="374"/>
                    <a:pt x="29" y="374"/>
                  </a:cubicBezTo>
                  <a:cubicBezTo>
                    <a:pt x="12" y="374"/>
                    <a:pt x="0" y="361"/>
                    <a:pt x="0" y="345"/>
                  </a:cubicBezTo>
                  <a:cubicBezTo>
                    <a:pt x="0" y="345"/>
                    <a:pt x="0" y="345"/>
                    <a:pt x="0" y="29"/>
                  </a:cubicBezTo>
                  <a:cubicBezTo>
                    <a:pt x="0" y="13"/>
                    <a:pt x="12" y="0"/>
                    <a:pt x="29" y="0"/>
                  </a:cubicBezTo>
                  <a:lnTo>
                    <a:pt x="192" y="0"/>
                  </a:lnTo>
                  <a:close/>
                  <a:moveTo>
                    <a:pt x="181" y="311"/>
                  </a:moveTo>
                  <a:cubicBezTo>
                    <a:pt x="49" y="311"/>
                    <a:pt x="49" y="311"/>
                    <a:pt x="49" y="311"/>
                  </a:cubicBezTo>
                  <a:cubicBezTo>
                    <a:pt x="43" y="311"/>
                    <a:pt x="38" y="306"/>
                    <a:pt x="38" y="299"/>
                  </a:cubicBezTo>
                  <a:cubicBezTo>
                    <a:pt x="38" y="293"/>
                    <a:pt x="43" y="288"/>
                    <a:pt x="49" y="288"/>
                  </a:cubicBezTo>
                  <a:cubicBezTo>
                    <a:pt x="181" y="288"/>
                    <a:pt x="181" y="288"/>
                    <a:pt x="181" y="288"/>
                  </a:cubicBezTo>
                  <a:cubicBezTo>
                    <a:pt x="188" y="288"/>
                    <a:pt x="193" y="293"/>
                    <a:pt x="193" y="299"/>
                  </a:cubicBezTo>
                  <a:cubicBezTo>
                    <a:pt x="193" y="306"/>
                    <a:pt x="188" y="311"/>
                    <a:pt x="181" y="311"/>
                  </a:cubicBezTo>
                  <a:close/>
                  <a:moveTo>
                    <a:pt x="181" y="258"/>
                  </a:moveTo>
                  <a:cubicBezTo>
                    <a:pt x="49" y="258"/>
                    <a:pt x="49" y="258"/>
                    <a:pt x="49" y="258"/>
                  </a:cubicBezTo>
                  <a:cubicBezTo>
                    <a:pt x="43" y="258"/>
                    <a:pt x="38" y="253"/>
                    <a:pt x="38" y="246"/>
                  </a:cubicBezTo>
                  <a:cubicBezTo>
                    <a:pt x="38" y="240"/>
                    <a:pt x="43" y="235"/>
                    <a:pt x="49" y="235"/>
                  </a:cubicBezTo>
                  <a:cubicBezTo>
                    <a:pt x="181" y="235"/>
                    <a:pt x="181" y="235"/>
                    <a:pt x="181" y="235"/>
                  </a:cubicBezTo>
                  <a:cubicBezTo>
                    <a:pt x="188" y="235"/>
                    <a:pt x="193" y="240"/>
                    <a:pt x="193" y="246"/>
                  </a:cubicBezTo>
                  <a:cubicBezTo>
                    <a:pt x="193" y="253"/>
                    <a:pt x="188" y="258"/>
                    <a:pt x="181" y="258"/>
                  </a:cubicBezTo>
                  <a:close/>
                  <a:moveTo>
                    <a:pt x="177" y="194"/>
                  </a:moveTo>
                  <a:cubicBezTo>
                    <a:pt x="168" y="194"/>
                    <a:pt x="161" y="187"/>
                    <a:pt x="161" y="178"/>
                  </a:cubicBezTo>
                  <a:cubicBezTo>
                    <a:pt x="161" y="170"/>
                    <a:pt x="168" y="162"/>
                    <a:pt x="177" y="162"/>
                  </a:cubicBezTo>
                  <a:cubicBezTo>
                    <a:pt x="186" y="162"/>
                    <a:pt x="193" y="170"/>
                    <a:pt x="193" y="178"/>
                  </a:cubicBezTo>
                  <a:cubicBezTo>
                    <a:pt x="193" y="187"/>
                    <a:pt x="186" y="194"/>
                    <a:pt x="177" y="194"/>
                  </a:cubicBez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pPr defTabSz="685294"/>
              <a:endParaRPr lang="en-US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" name="Freeform 6"/>
            <p:cNvSpPr>
              <a:spLocks noEditPoints="1"/>
            </p:cNvSpPr>
            <p:nvPr/>
          </p:nvSpPr>
          <p:spPr bwMode="auto">
            <a:xfrm>
              <a:off x="6577555" y="3728545"/>
              <a:ext cx="181751" cy="308303"/>
            </a:xfrm>
            <a:custGeom>
              <a:avLst/>
              <a:gdLst>
                <a:gd name="T0" fmla="*/ 192 w 221"/>
                <a:gd name="T1" fmla="*/ 0 h 374"/>
                <a:gd name="T2" fmla="*/ 192 w 221"/>
                <a:gd name="T3" fmla="*/ 0 h 374"/>
                <a:gd name="T4" fmla="*/ 221 w 221"/>
                <a:gd name="T5" fmla="*/ 29 h 374"/>
                <a:gd name="T6" fmla="*/ 221 w 221"/>
                <a:gd name="T7" fmla="*/ 345 h 374"/>
                <a:gd name="T8" fmla="*/ 192 w 221"/>
                <a:gd name="T9" fmla="*/ 374 h 374"/>
                <a:gd name="T10" fmla="*/ 29 w 221"/>
                <a:gd name="T11" fmla="*/ 374 h 374"/>
                <a:gd name="T12" fmla="*/ 0 w 221"/>
                <a:gd name="T13" fmla="*/ 345 h 374"/>
                <a:gd name="T14" fmla="*/ 0 w 221"/>
                <a:gd name="T15" fmla="*/ 29 h 374"/>
                <a:gd name="T16" fmla="*/ 29 w 221"/>
                <a:gd name="T17" fmla="*/ 0 h 374"/>
                <a:gd name="T18" fmla="*/ 192 w 221"/>
                <a:gd name="T19" fmla="*/ 0 h 374"/>
                <a:gd name="T20" fmla="*/ 181 w 221"/>
                <a:gd name="T21" fmla="*/ 311 h 374"/>
                <a:gd name="T22" fmla="*/ 49 w 221"/>
                <a:gd name="T23" fmla="*/ 311 h 374"/>
                <a:gd name="T24" fmla="*/ 38 w 221"/>
                <a:gd name="T25" fmla="*/ 299 h 374"/>
                <a:gd name="T26" fmla="*/ 49 w 221"/>
                <a:gd name="T27" fmla="*/ 288 h 374"/>
                <a:gd name="T28" fmla="*/ 181 w 221"/>
                <a:gd name="T29" fmla="*/ 288 h 374"/>
                <a:gd name="T30" fmla="*/ 193 w 221"/>
                <a:gd name="T31" fmla="*/ 299 h 374"/>
                <a:gd name="T32" fmla="*/ 181 w 221"/>
                <a:gd name="T33" fmla="*/ 311 h 374"/>
                <a:gd name="T34" fmla="*/ 181 w 221"/>
                <a:gd name="T35" fmla="*/ 258 h 374"/>
                <a:gd name="T36" fmla="*/ 49 w 221"/>
                <a:gd name="T37" fmla="*/ 258 h 374"/>
                <a:gd name="T38" fmla="*/ 38 w 221"/>
                <a:gd name="T39" fmla="*/ 246 h 374"/>
                <a:gd name="T40" fmla="*/ 49 w 221"/>
                <a:gd name="T41" fmla="*/ 235 h 374"/>
                <a:gd name="T42" fmla="*/ 181 w 221"/>
                <a:gd name="T43" fmla="*/ 235 h 374"/>
                <a:gd name="T44" fmla="*/ 193 w 221"/>
                <a:gd name="T45" fmla="*/ 246 h 374"/>
                <a:gd name="T46" fmla="*/ 181 w 221"/>
                <a:gd name="T47" fmla="*/ 258 h 374"/>
                <a:gd name="T48" fmla="*/ 177 w 221"/>
                <a:gd name="T49" fmla="*/ 194 h 374"/>
                <a:gd name="T50" fmla="*/ 161 w 221"/>
                <a:gd name="T51" fmla="*/ 178 h 374"/>
                <a:gd name="T52" fmla="*/ 177 w 221"/>
                <a:gd name="T53" fmla="*/ 162 h 374"/>
                <a:gd name="T54" fmla="*/ 193 w 221"/>
                <a:gd name="T55" fmla="*/ 178 h 374"/>
                <a:gd name="T56" fmla="*/ 177 w 221"/>
                <a:gd name="T57" fmla="*/ 19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1" h="374">
                  <a:moveTo>
                    <a:pt x="192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208" y="0"/>
                    <a:pt x="221" y="13"/>
                    <a:pt x="221" y="29"/>
                  </a:cubicBezTo>
                  <a:cubicBezTo>
                    <a:pt x="221" y="29"/>
                    <a:pt x="221" y="29"/>
                    <a:pt x="221" y="345"/>
                  </a:cubicBezTo>
                  <a:cubicBezTo>
                    <a:pt x="221" y="361"/>
                    <a:pt x="208" y="374"/>
                    <a:pt x="192" y="374"/>
                  </a:cubicBezTo>
                  <a:cubicBezTo>
                    <a:pt x="192" y="374"/>
                    <a:pt x="192" y="374"/>
                    <a:pt x="29" y="374"/>
                  </a:cubicBezTo>
                  <a:cubicBezTo>
                    <a:pt x="12" y="374"/>
                    <a:pt x="0" y="361"/>
                    <a:pt x="0" y="345"/>
                  </a:cubicBezTo>
                  <a:cubicBezTo>
                    <a:pt x="0" y="345"/>
                    <a:pt x="0" y="345"/>
                    <a:pt x="0" y="29"/>
                  </a:cubicBezTo>
                  <a:cubicBezTo>
                    <a:pt x="0" y="13"/>
                    <a:pt x="12" y="0"/>
                    <a:pt x="29" y="0"/>
                  </a:cubicBezTo>
                  <a:lnTo>
                    <a:pt x="192" y="0"/>
                  </a:lnTo>
                  <a:close/>
                  <a:moveTo>
                    <a:pt x="181" y="311"/>
                  </a:moveTo>
                  <a:cubicBezTo>
                    <a:pt x="49" y="311"/>
                    <a:pt x="49" y="311"/>
                    <a:pt x="49" y="311"/>
                  </a:cubicBezTo>
                  <a:cubicBezTo>
                    <a:pt x="43" y="311"/>
                    <a:pt x="38" y="306"/>
                    <a:pt x="38" y="299"/>
                  </a:cubicBezTo>
                  <a:cubicBezTo>
                    <a:pt x="38" y="293"/>
                    <a:pt x="43" y="288"/>
                    <a:pt x="49" y="288"/>
                  </a:cubicBezTo>
                  <a:cubicBezTo>
                    <a:pt x="181" y="288"/>
                    <a:pt x="181" y="288"/>
                    <a:pt x="181" y="288"/>
                  </a:cubicBezTo>
                  <a:cubicBezTo>
                    <a:pt x="188" y="288"/>
                    <a:pt x="193" y="293"/>
                    <a:pt x="193" y="299"/>
                  </a:cubicBezTo>
                  <a:cubicBezTo>
                    <a:pt x="193" y="306"/>
                    <a:pt x="188" y="311"/>
                    <a:pt x="181" y="311"/>
                  </a:cubicBezTo>
                  <a:close/>
                  <a:moveTo>
                    <a:pt x="181" y="258"/>
                  </a:moveTo>
                  <a:cubicBezTo>
                    <a:pt x="49" y="258"/>
                    <a:pt x="49" y="258"/>
                    <a:pt x="49" y="258"/>
                  </a:cubicBezTo>
                  <a:cubicBezTo>
                    <a:pt x="43" y="258"/>
                    <a:pt x="38" y="253"/>
                    <a:pt x="38" y="246"/>
                  </a:cubicBezTo>
                  <a:cubicBezTo>
                    <a:pt x="38" y="240"/>
                    <a:pt x="43" y="235"/>
                    <a:pt x="49" y="235"/>
                  </a:cubicBezTo>
                  <a:cubicBezTo>
                    <a:pt x="181" y="235"/>
                    <a:pt x="181" y="235"/>
                    <a:pt x="181" y="235"/>
                  </a:cubicBezTo>
                  <a:cubicBezTo>
                    <a:pt x="188" y="235"/>
                    <a:pt x="193" y="240"/>
                    <a:pt x="193" y="246"/>
                  </a:cubicBezTo>
                  <a:cubicBezTo>
                    <a:pt x="193" y="253"/>
                    <a:pt x="188" y="258"/>
                    <a:pt x="181" y="258"/>
                  </a:cubicBezTo>
                  <a:close/>
                  <a:moveTo>
                    <a:pt x="177" y="194"/>
                  </a:moveTo>
                  <a:cubicBezTo>
                    <a:pt x="168" y="194"/>
                    <a:pt x="161" y="187"/>
                    <a:pt x="161" y="178"/>
                  </a:cubicBezTo>
                  <a:cubicBezTo>
                    <a:pt x="161" y="170"/>
                    <a:pt x="168" y="162"/>
                    <a:pt x="177" y="162"/>
                  </a:cubicBezTo>
                  <a:cubicBezTo>
                    <a:pt x="186" y="162"/>
                    <a:pt x="193" y="170"/>
                    <a:pt x="193" y="178"/>
                  </a:cubicBezTo>
                  <a:cubicBezTo>
                    <a:pt x="193" y="187"/>
                    <a:pt x="186" y="194"/>
                    <a:pt x="177" y="194"/>
                  </a:cubicBez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pPr defTabSz="685294"/>
              <a:endParaRPr lang="en-US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" name="Freeform 6"/>
            <p:cNvSpPr>
              <a:spLocks noEditPoints="1"/>
            </p:cNvSpPr>
            <p:nvPr/>
          </p:nvSpPr>
          <p:spPr bwMode="auto">
            <a:xfrm>
              <a:off x="7130149" y="3728545"/>
              <a:ext cx="181751" cy="308303"/>
            </a:xfrm>
            <a:custGeom>
              <a:avLst/>
              <a:gdLst>
                <a:gd name="T0" fmla="*/ 192 w 221"/>
                <a:gd name="T1" fmla="*/ 0 h 374"/>
                <a:gd name="T2" fmla="*/ 192 w 221"/>
                <a:gd name="T3" fmla="*/ 0 h 374"/>
                <a:gd name="T4" fmla="*/ 221 w 221"/>
                <a:gd name="T5" fmla="*/ 29 h 374"/>
                <a:gd name="T6" fmla="*/ 221 w 221"/>
                <a:gd name="T7" fmla="*/ 345 h 374"/>
                <a:gd name="T8" fmla="*/ 192 w 221"/>
                <a:gd name="T9" fmla="*/ 374 h 374"/>
                <a:gd name="T10" fmla="*/ 29 w 221"/>
                <a:gd name="T11" fmla="*/ 374 h 374"/>
                <a:gd name="T12" fmla="*/ 0 w 221"/>
                <a:gd name="T13" fmla="*/ 345 h 374"/>
                <a:gd name="T14" fmla="*/ 0 w 221"/>
                <a:gd name="T15" fmla="*/ 29 h 374"/>
                <a:gd name="T16" fmla="*/ 29 w 221"/>
                <a:gd name="T17" fmla="*/ 0 h 374"/>
                <a:gd name="T18" fmla="*/ 192 w 221"/>
                <a:gd name="T19" fmla="*/ 0 h 374"/>
                <a:gd name="T20" fmla="*/ 181 w 221"/>
                <a:gd name="T21" fmla="*/ 311 h 374"/>
                <a:gd name="T22" fmla="*/ 49 w 221"/>
                <a:gd name="T23" fmla="*/ 311 h 374"/>
                <a:gd name="T24" fmla="*/ 38 w 221"/>
                <a:gd name="T25" fmla="*/ 299 h 374"/>
                <a:gd name="T26" fmla="*/ 49 w 221"/>
                <a:gd name="T27" fmla="*/ 288 h 374"/>
                <a:gd name="T28" fmla="*/ 181 w 221"/>
                <a:gd name="T29" fmla="*/ 288 h 374"/>
                <a:gd name="T30" fmla="*/ 193 w 221"/>
                <a:gd name="T31" fmla="*/ 299 h 374"/>
                <a:gd name="T32" fmla="*/ 181 w 221"/>
                <a:gd name="T33" fmla="*/ 311 h 374"/>
                <a:gd name="T34" fmla="*/ 181 w 221"/>
                <a:gd name="T35" fmla="*/ 258 h 374"/>
                <a:gd name="T36" fmla="*/ 49 w 221"/>
                <a:gd name="T37" fmla="*/ 258 h 374"/>
                <a:gd name="T38" fmla="*/ 38 w 221"/>
                <a:gd name="T39" fmla="*/ 246 h 374"/>
                <a:gd name="T40" fmla="*/ 49 w 221"/>
                <a:gd name="T41" fmla="*/ 235 h 374"/>
                <a:gd name="T42" fmla="*/ 181 w 221"/>
                <a:gd name="T43" fmla="*/ 235 h 374"/>
                <a:gd name="T44" fmla="*/ 193 w 221"/>
                <a:gd name="T45" fmla="*/ 246 h 374"/>
                <a:gd name="T46" fmla="*/ 181 w 221"/>
                <a:gd name="T47" fmla="*/ 258 h 374"/>
                <a:gd name="T48" fmla="*/ 177 w 221"/>
                <a:gd name="T49" fmla="*/ 194 h 374"/>
                <a:gd name="T50" fmla="*/ 161 w 221"/>
                <a:gd name="T51" fmla="*/ 178 h 374"/>
                <a:gd name="T52" fmla="*/ 177 w 221"/>
                <a:gd name="T53" fmla="*/ 162 h 374"/>
                <a:gd name="T54" fmla="*/ 193 w 221"/>
                <a:gd name="T55" fmla="*/ 178 h 374"/>
                <a:gd name="T56" fmla="*/ 177 w 221"/>
                <a:gd name="T57" fmla="*/ 19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1" h="374">
                  <a:moveTo>
                    <a:pt x="192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208" y="0"/>
                    <a:pt x="221" y="13"/>
                    <a:pt x="221" y="29"/>
                  </a:cubicBezTo>
                  <a:cubicBezTo>
                    <a:pt x="221" y="29"/>
                    <a:pt x="221" y="29"/>
                    <a:pt x="221" y="345"/>
                  </a:cubicBezTo>
                  <a:cubicBezTo>
                    <a:pt x="221" y="361"/>
                    <a:pt x="208" y="374"/>
                    <a:pt x="192" y="374"/>
                  </a:cubicBezTo>
                  <a:cubicBezTo>
                    <a:pt x="192" y="374"/>
                    <a:pt x="192" y="374"/>
                    <a:pt x="29" y="374"/>
                  </a:cubicBezTo>
                  <a:cubicBezTo>
                    <a:pt x="12" y="374"/>
                    <a:pt x="0" y="361"/>
                    <a:pt x="0" y="345"/>
                  </a:cubicBezTo>
                  <a:cubicBezTo>
                    <a:pt x="0" y="345"/>
                    <a:pt x="0" y="345"/>
                    <a:pt x="0" y="29"/>
                  </a:cubicBezTo>
                  <a:cubicBezTo>
                    <a:pt x="0" y="13"/>
                    <a:pt x="12" y="0"/>
                    <a:pt x="29" y="0"/>
                  </a:cubicBezTo>
                  <a:lnTo>
                    <a:pt x="192" y="0"/>
                  </a:lnTo>
                  <a:close/>
                  <a:moveTo>
                    <a:pt x="181" y="311"/>
                  </a:moveTo>
                  <a:cubicBezTo>
                    <a:pt x="49" y="311"/>
                    <a:pt x="49" y="311"/>
                    <a:pt x="49" y="311"/>
                  </a:cubicBezTo>
                  <a:cubicBezTo>
                    <a:pt x="43" y="311"/>
                    <a:pt x="38" y="306"/>
                    <a:pt x="38" y="299"/>
                  </a:cubicBezTo>
                  <a:cubicBezTo>
                    <a:pt x="38" y="293"/>
                    <a:pt x="43" y="288"/>
                    <a:pt x="49" y="288"/>
                  </a:cubicBezTo>
                  <a:cubicBezTo>
                    <a:pt x="181" y="288"/>
                    <a:pt x="181" y="288"/>
                    <a:pt x="181" y="288"/>
                  </a:cubicBezTo>
                  <a:cubicBezTo>
                    <a:pt x="188" y="288"/>
                    <a:pt x="193" y="293"/>
                    <a:pt x="193" y="299"/>
                  </a:cubicBezTo>
                  <a:cubicBezTo>
                    <a:pt x="193" y="306"/>
                    <a:pt x="188" y="311"/>
                    <a:pt x="181" y="311"/>
                  </a:cubicBezTo>
                  <a:close/>
                  <a:moveTo>
                    <a:pt x="181" y="258"/>
                  </a:moveTo>
                  <a:cubicBezTo>
                    <a:pt x="49" y="258"/>
                    <a:pt x="49" y="258"/>
                    <a:pt x="49" y="258"/>
                  </a:cubicBezTo>
                  <a:cubicBezTo>
                    <a:pt x="43" y="258"/>
                    <a:pt x="38" y="253"/>
                    <a:pt x="38" y="246"/>
                  </a:cubicBezTo>
                  <a:cubicBezTo>
                    <a:pt x="38" y="240"/>
                    <a:pt x="43" y="235"/>
                    <a:pt x="49" y="235"/>
                  </a:cubicBezTo>
                  <a:cubicBezTo>
                    <a:pt x="181" y="235"/>
                    <a:pt x="181" y="235"/>
                    <a:pt x="181" y="235"/>
                  </a:cubicBezTo>
                  <a:cubicBezTo>
                    <a:pt x="188" y="235"/>
                    <a:pt x="193" y="240"/>
                    <a:pt x="193" y="246"/>
                  </a:cubicBezTo>
                  <a:cubicBezTo>
                    <a:pt x="193" y="253"/>
                    <a:pt x="188" y="258"/>
                    <a:pt x="181" y="258"/>
                  </a:cubicBezTo>
                  <a:close/>
                  <a:moveTo>
                    <a:pt x="177" y="194"/>
                  </a:moveTo>
                  <a:cubicBezTo>
                    <a:pt x="168" y="194"/>
                    <a:pt x="161" y="187"/>
                    <a:pt x="161" y="178"/>
                  </a:cubicBezTo>
                  <a:cubicBezTo>
                    <a:pt x="161" y="170"/>
                    <a:pt x="168" y="162"/>
                    <a:pt x="177" y="162"/>
                  </a:cubicBezTo>
                  <a:cubicBezTo>
                    <a:pt x="186" y="162"/>
                    <a:pt x="193" y="170"/>
                    <a:pt x="193" y="178"/>
                  </a:cubicBezTo>
                  <a:cubicBezTo>
                    <a:pt x="193" y="187"/>
                    <a:pt x="186" y="194"/>
                    <a:pt x="177" y="194"/>
                  </a:cubicBez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pPr defTabSz="685294"/>
              <a:endParaRPr lang="en-US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0" name="Freeform 6"/>
            <p:cNvSpPr>
              <a:spLocks noEditPoints="1"/>
            </p:cNvSpPr>
            <p:nvPr/>
          </p:nvSpPr>
          <p:spPr bwMode="auto">
            <a:xfrm>
              <a:off x="7525539" y="3659489"/>
              <a:ext cx="181751" cy="308303"/>
            </a:xfrm>
            <a:custGeom>
              <a:avLst/>
              <a:gdLst>
                <a:gd name="T0" fmla="*/ 192 w 221"/>
                <a:gd name="T1" fmla="*/ 0 h 374"/>
                <a:gd name="T2" fmla="*/ 192 w 221"/>
                <a:gd name="T3" fmla="*/ 0 h 374"/>
                <a:gd name="T4" fmla="*/ 221 w 221"/>
                <a:gd name="T5" fmla="*/ 29 h 374"/>
                <a:gd name="T6" fmla="*/ 221 w 221"/>
                <a:gd name="T7" fmla="*/ 345 h 374"/>
                <a:gd name="T8" fmla="*/ 192 w 221"/>
                <a:gd name="T9" fmla="*/ 374 h 374"/>
                <a:gd name="T10" fmla="*/ 29 w 221"/>
                <a:gd name="T11" fmla="*/ 374 h 374"/>
                <a:gd name="T12" fmla="*/ 0 w 221"/>
                <a:gd name="T13" fmla="*/ 345 h 374"/>
                <a:gd name="T14" fmla="*/ 0 w 221"/>
                <a:gd name="T15" fmla="*/ 29 h 374"/>
                <a:gd name="T16" fmla="*/ 29 w 221"/>
                <a:gd name="T17" fmla="*/ 0 h 374"/>
                <a:gd name="T18" fmla="*/ 192 w 221"/>
                <a:gd name="T19" fmla="*/ 0 h 374"/>
                <a:gd name="T20" fmla="*/ 181 w 221"/>
                <a:gd name="T21" fmla="*/ 311 h 374"/>
                <a:gd name="T22" fmla="*/ 49 w 221"/>
                <a:gd name="T23" fmla="*/ 311 h 374"/>
                <a:gd name="T24" fmla="*/ 38 w 221"/>
                <a:gd name="T25" fmla="*/ 299 h 374"/>
                <a:gd name="T26" fmla="*/ 49 w 221"/>
                <a:gd name="T27" fmla="*/ 288 h 374"/>
                <a:gd name="T28" fmla="*/ 181 w 221"/>
                <a:gd name="T29" fmla="*/ 288 h 374"/>
                <a:gd name="T30" fmla="*/ 193 w 221"/>
                <a:gd name="T31" fmla="*/ 299 h 374"/>
                <a:gd name="T32" fmla="*/ 181 w 221"/>
                <a:gd name="T33" fmla="*/ 311 h 374"/>
                <a:gd name="T34" fmla="*/ 181 w 221"/>
                <a:gd name="T35" fmla="*/ 258 h 374"/>
                <a:gd name="T36" fmla="*/ 49 w 221"/>
                <a:gd name="T37" fmla="*/ 258 h 374"/>
                <a:gd name="T38" fmla="*/ 38 w 221"/>
                <a:gd name="T39" fmla="*/ 246 h 374"/>
                <a:gd name="T40" fmla="*/ 49 w 221"/>
                <a:gd name="T41" fmla="*/ 235 h 374"/>
                <a:gd name="T42" fmla="*/ 181 w 221"/>
                <a:gd name="T43" fmla="*/ 235 h 374"/>
                <a:gd name="T44" fmla="*/ 193 w 221"/>
                <a:gd name="T45" fmla="*/ 246 h 374"/>
                <a:gd name="T46" fmla="*/ 181 w 221"/>
                <a:gd name="T47" fmla="*/ 258 h 374"/>
                <a:gd name="T48" fmla="*/ 177 w 221"/>
                <a:gd name="T49" fmla="*/ 194 h 374"/>
                <a:gd name="T50" fmla="*/ 161 w 221"/>
                <a:gd name="T51" fmla="*/ 178 h 374"/>
                <a:gd name="T52" fmla="*/ 177 w 221"/>
                <a:gd name="T53" fmla="*/ 162 h 374"/>
                <a:gd name="T54" fmla="*/ 193 w 221"/>
                <a:gd name="T55" fmla="*/ 178 h 374"/>
                <a:gd name="T56" fmla="*/ 177 w 221"/>
                <a:gd name="T57" fmla="*/ 19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1" h="374">
                  <a:moveTo>
                    <a:pt x="192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208" y="0"/>
                    <a:pt x="221" y="13"/>
                    <a:pt x="221" y="29"/>
                  </a:cubicBezTo>
                  <a:cubicBezTo>
                    <a:pt x="221" y="29"/>
                    <a:pt x="221" y="29"/>
                    <a:pt x="221" y="345"/>
                  </a:cubicBezTo>
                  <a:cubicBezTo>
                    <a:pt x="221" y="361"/>
                    <a:pt x="208" y="374"/>
                    <a:pt x="192" y="374"/>
                  </a:cubicBezTo>
                  <a:cubicBezTo>
                    <a:pt x="192" y="374"/>
                    <a:pt x="192" y="374"/>
                    <a:pt x="29" y="374"/>
                  </a:cubicBezTo>
                  <a:cubicBezTo>
                    <a:pt x="12" y="374"/>
                    <a:pt x="0" y="361"/>
                    <a:pt x="0" y="345"/>
                  </a:cubicBezTo>
                  <a:cubicBezTo>
                    <a:pt x="0" y="345"/>
                    <a:pt x="0" y="345"/>
                    <a:pt x="0" y="29"/>
                  </a:cubicBezTo>
                  <a:cubicBezTo>
                    <a:pt x="0" y="13"/>
                    <a:pt x="12" y="0"/>
                    <a:pt x="29" y="0"/>
                  </a:cubicBezTo>
                  <a:lnTo>
                    <a:pt x="192" y="0"/>
                  </a:lnTo>
                  <a:close/>
                  <a:moveTo>
                    <a:pt x="181" y="311"/>
                  </a:moveTo>
                  <a:cubicBezTo>
                    <a:pt x="49" y="311"/>
                    <a:pt x="49" y="311"/>
                    <a:pt x="49" y="311"/>
                  </a:cubicBezTo>
                  <a:cubicBezTo>
                    <a:pt x="43" y="311"/>
                    <a:pt x="38" y="306"/>
                    <a:pt x="38" y="299"/>
                  </a:cubicBezTo>
                  <a:cubicBezTo>
                    <a:pt x="38" y="293"/>
                    <a:pt x="43" y="288"/>
                    <a:pt x="49" y="288"/>
                  </a:cubicBezTo>
                  <a:cubicBezTo>
                    <a:pt x="181" y="288"/>
                    <a:pt x="181" y="288"/>
                    <a:pt x="181" y="288"/>
                  </a:cubicBezTo>
                  <a:cubicBezTo>
                    <a:pt x="188" y="288"/>
                    <a:pt x="193" y="293"/>
                    <a:pt x="193" y="299"/>
                  </a:cubicBezTo>
                  <a:cubicBezTo>
                    <a:pt x="193" y="306"/>
                    <a:pt x="188" y="311"/>
                    <a:pt x="181" y="311"/>
                  </a:cubicBezTo>
                  <a:close/>
                  <a:moveTo>
                    <a:pt x="181" y="258"/>
                  </a:moveTo>
                  <a:cubicBezTo>
                    <a:pt x="49" y="258"/>
                    <a:pt x="49" y="258"/>
                    <a:pt x="49" y="258"/>
                  </a:cubicBezTo>
                  <a:cubicBezTo>
                    <a:pt x="43" y="258"/>
                    <a:pt x="38" y="253"/>
                    <a:pt x="38" y="246"/>
                  </a:cubicBezTo>
                  <a:cubicBezTo>
                    <a:pt x="38" y="240"/>
                    <a:pt x="43" y="235"/>
                    <a:pt x="49" y="235"/>
                  </a:cubicBezTo>
                  <a:cubicBezTo>
                    <a:pt x="181" y="235"/>
                    <a:pt x="181" y="235"/>
                    <a:pt x="181" y="235"/>
                  </a:cubicBezTo>
                  <a:cubicBezTo>
                    <a:pt x="188" y="235"/>
                    <a:pt x="193" y="240"/>
                    <a:pt x="193" y="246"/>
                  </a:cubicBezTo>
                  <a:cubicBezTo>
                    <a:pt x="193" y="253"/>
                    <a:pt x="188" y="258"/>
                    <a:pt x="181" y="258"/>
                  </a:cubicBezTo>
                  <a:close/>
                  <a:moveTo>
                    <a:pt x="177" y="194"/>
                  </a:moveTo>
                  <a:cubicBezTo>
                    <a:pt x="168" y="194"/>
                    <a:pt x="161" y="187"/>
                    <a:pt x="161" y="178"/>
                  </a:cubicBezTo>
                  <a:cubicBezTo>
                    <a:pt x="161" y="170"/>
                    <a:pt x="168" y="162"/>
                    <a:pt x="177" y="162"/>
                  </a:cubicBezTo>
                  <a:cubicBezTo>
                    <a:pt x="186" y="162"/>
                    <a:pt x="193" y="170"/>
                    <a:pt x="193" y="178"/>
                  </a:cubicBezTo>
                  <a:cubicBezTo>
                    <a:pt x="193" y="187"/>
                    <a:pt x="186" y="194"/>
                    <a:pt x="177" y="194"/>
                  </a:cubicBez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pPr defTabSz="685294"/>
              <a:endParaRPr lang="en-US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1" name="Freeform 6"/>
            <p:cNvSpPr>
              <a:spLocks noEditPoints="1"/>
            </p:cNvSpPr>
            <p:nvPr/>
          </p:nvSpPr>
          <p:spPr bwMode="auto">
            <a:xfrm>
              <a:off x="7801836" y="3549952"/>
              <a:ext cx="181751" cy="308303"/>
            </a:xfrm>
            <a:custGeom>
              <a:avLst/>
              <a:gdLst>
                <a:gd name="T0" fmla="*/ 192 w 221"/>
                <a:gd name="T1" fmla="*/ 0 h 374"/>
                <a:gd name="T2" fmla="*/ 192 w 221"/>
                <a:gd name="T3" fmla="*/ 0 h 374"/>
                <a:gd name="T4" fmla="*/ 221 w 221"/>
                <a:gd name="T5" fmla="*/ 29 h 374"/>
                <a:gd name="T6" fmla="*/ 221 w 221"/>
                <a:gd name="T7" fmla="*/ 345 h 374"/>
                <a:gd name="T8" fmla="*/ 192 w 221"/>
                <a:gd name="T9" fmla="*/ 374 h 374"/>
                <a:gd name="T10" fmla="*/ 29 w 221"/>
                <a:gd name="T11" fmla="*/ 374 h 374"/>
                <a:gd name="T12" fmla="*/ 0 w 221"/>
                <a:gd name="T13" fmla="*/ 345 h 374"/>
                <a:gd name="T14" fmla="*/ 0 w 221"/>
                <a:gd name="T15" fmla="*/ 29 h 374"/>
                <a:gd name="T16" fmla="*/ 29 w 221"/>
                <a:gd name="T17" fmla="*/ 0 h 374"/>
                <a:gd name="T18" fmla="*/ 192 w 221"/>
                <a:gd name="T19" fmla="*/ 0 h 374"/>
                <a:gd name="T20" fmla="*/ 181 w 221"/>
                <a:gd name="T21" fmla="*/ 311 h 374"/>
                <a:gd name="T22" fmla="*/ 49 w 221"/>
                <a:gd name="T23" fmla="*/ 311 h 374"/>
                <a:gd name="T24" fmla="*/ 38 w 221"/>
                <a:gd name="T25" fmla="*/ 299 h 374"/>
                <a:gd name="T26" fmla="*/ 49 w 221"/>
                <a:gd name="T27" fmla="*/ 288 h 374"/>
                <a:gd name="T28" fmla="*/ 181 w 221"/>
                <a:gd name="T29" fmla="*/ 288 h 374"/>
                <a:gd name="T30" fmla="*/ 193 w 221"/>
                <a:gd name="T31" fmla="*/ 299 h 374"/>
                <a:gd name="T32" fmla="*/ 181 w 221"/>
                <a:gd name="T33" fmla="*/ 311 h 374"/>
                <a:gd name="T34" fmla="*/ 181 w 221"/>
                <a:gd name="T35" fmla="*/ 258 h 374"/>
                <a:gd name="T36" fmla="*/ 49 w 221"/>
                <a:gd name="T37" fmla="*/ 258 h 374"/>
                <a:gd name="T38" fmla="*/ 38 w 221"/>
                <a:gd name="T39" fmla="*/ 246 h 374"/>
                <a:gd name="T40" fmla="*/ 49 w 221"/>
                <a:gd name="T41" fmla="*/ 235 h 374"/>
                <a:gd name="T42" fmla="*/ 181 w 221"/>
                <a:gd name="T43" fmla="*/ 235 h 374"/>
                <a:gd name="T44" fmla="*/ 193 w 221"/>
                <a:gd name="T45" fmla="*/ 246 h 374"/>
                <a:gd name="T46" fmla="*/ 181 w 221"/>
                <a:gd name="T47" fmla="*/ 258 h 374"/>
                <a:gd name="T48" fmla="*/ 177 w 221"/>
                <a:gd name="T49" fmla="*/ 194 h 374"/>
                <a:gd name="T50" fmla="*/ 161 w 221"/>
                <a:gd name="T51" fmla="*/ 178 h 374"/>
                <a:gd name="T52" fmla="*/ 177 w 221"/>
                <a:gd name="T53" fmla="*/ 162 h 374"/>
                <a:gd name="T54" fmla="*/ 193 w 221"/>
                <a:gd name="T55" fmla="*/ 178 h 374"/>
                <a:gd name="T56" fmla="*/ 177 w 221"/>
                <a:gd name="T57" fmla="*/ 19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1" h="374">
                  <a:moveTo>
                    <a:pt x="192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208" y="0"/>
                    <a:pt x="221" y="13"/>
                    <a:pt x="221" y="29"/>
                  </a:cubicBezTo>
                  <a:cubicBezTo>
                    <a:pt x="221" y="29"/>
                    <a:pt x="221" y="29"/>
                    <a:pt x="221" y="345"/>
                  </a:cubicBezTo>
                  <a:cubicBezTo>
                    <a:pt x="221" y="361"/>
                    <a:pt x="208" y="374"/>
                    <a:pt x="192" y="374"/>
                  </a:cubicBezTo>
                  <a:cubicBezTo>
                    <a:pt x="192" y="374"/>
                    <a:pt x="192" y="374"/>
                    <a:pt x="29" y="374"/>
                  </a:cubicBezTo>
                  <a:cubicBezTo>
                    <a:pt x="12" y="374"/>
                    <a:pt x="0" y="361"/>
                    <a:pt x="0" y="345"/>
                  </a:cubicBezTo>
                  <a:cubicBezTo>
                    <a:pt x="0" y="345"/>
                    <a:pt x="0" y="345"/>
                    <a:pt x="0" y="29"/>
                  </a:cubicBezTo>
                  <a:cubicBezTo>
                    <a:pt x="0" y="13"/>
                    <a:pt x="12" y="0"/>
                    <a:pt x="29" y="0"/>
                  </a:cubicBezTo>
                  <a:lnTo>
                    <a:pt x="192" y="0"/>
                  </a:lnTo>
                  <a:close/>
                  <a:moveTo>
                    <a:pt x="181" y="311"/>
                  </a:moveTo>
                  <a:cubicBezTo>
                    <a:pt x="49" y="311"/>
                    <a:pt x="49" y="311"/>
                    <a:pt x="49" y="311"/>
                  </a:cubicBezTo>
                  <a:cubicBezTo>
                    <a:pt x="43" y="311"/>
                    <a:pt x="38" y="306"/>
                    <a:pt x="38" y="299"/>
                  </a:cubicBezTo>
                  <a:cubicBezTo>
                    <a:pt x="38" y="293"/>
                    <a:pt x="43" y="288"/>
                    <a:pt x="49" y="288"/>
                  </a:cubicBezTo>
                  <a:cubicBezTo>
                    <a:pt x="181" y="288"/>
                    <a:pt x="181" y="288"/>
                    <a:pt x="181" y="288"/>
                  </a:cubicBezTo>
                  <a:cubicBezTo>
                    <a:pt x="188" y="288"/>
                    <a:pt x="193" y="293"/>
                    <a:pt x="193" y="299"/>
                  </a:cubicBezTo>
                  <a:cubicBezTo>
                    <a:pt x="193" y="306"/>
                    <a:pt x="188" y="311"/>
                    <a:pt x="181" y="311"/>
                  </a:cubicBezTo>
                  <a:close/>
                  <a:moveTo>
                    <a:pt x="181" y="258"/>
                  </a:moveTo>
                  <a:cubicBezTo>
                    <a:pt x="49" y="258"/>
                    <a:pt x="49" y="258"/>
                    <a:pt x="49" y="258"/>
                  </a:cubicBezTo>
                  <a:cubicBezTo>
                    <a:pt x="43" y="258"/>
                    <a:pt x="38" y="253"/>
                    <a:pt x="38" y="246"/>
                  </a:cubicBezTo>
                  <a:cubicBezTo>
                    <a:pt x="38" y="240"/>
                    <a:pt x="43" y="235"/>
                    <a:pt x="49" y="235"/>
                  </a:cubicBezTo>
                  <a:cubicBezTo>
                    <a:pt x="181" y="235"/>
                    <a:pt x="181" y="235"/>
                    <a:pt x="181" y="235"/>
                  </a:cubicBezTo>
                  <a:cubicBezTo>
                    <a:pt x="188" y="235"/>
                    <a:pt x="193" y="240"/>
                    <a:pt x="193" y="246"/>
                  </a:cubicBezTo>
                  <a:cubicBezTo>
                    <a:pt x="193" y="253"/>
                    <a:pt x="188" y="258"/>
                    <a:pt x="181" y="258"/>
                  </a:cubicBezTo>
                  <a:close/>
                  <a:moveTo>
                    <a:pt x="177" y="194"/>
                  </a:moveTo>
                  <a:cubicBezTo>
                    <a:pt x="168" y="194"/>
                    <a:pt x="161" y="187"/>
                    <a:pt x="161" y="178"/>
                  </a:cubicBezTo>
                  <a:cubicBezTo>
                    <a:pt x="161" y="170"/>
                    <a:pt x="168" y="162"/>
                    <a:pt x="177" y="162"/>
                  </a:cubicBezTo>
                  <a:cubicBezTo>
                    <a:pt x="186" y="162"/>
                    <a:pt x="193" y="170"/>
                    <a:pt x="193" y="178"/>
                  </a:cubicBezTo>
                  <a:cubicBezTo>
                    <a:pt x="193" y="187"/>
                    <a:pt x="186" y="194"/>
                    <a:pt x="177" y="194"/>
                  </a:cubicBez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pPr defTabSz="685294"/>
              <a:endParaRPr lang="en-US" sz="14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6694831" y="2958005"/>
              <a:ext cx="674676" cy="186906"/>
              <a:chOff x="8924116" y="3944007"/>
              <a:chExt cx="899334" cy="249208"/>
            </a:xfrm>
          </p:grpSpPr>
          <p:sp>
            <p:nvSpPr>
              <p:cNvPr id="39" name="Rectangle 38"/>
              <p:cNvSpPr/>
              <p:nvPr/>
            </p:nvSpPr>
            <p:spPr bwMode="auto">
              <a:xfrm>
                <a:off x="8963025" y="3976688"/>
                <a:ext cx="802481" cy="19288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1429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40" name="Freeform 6"/>
              <p:cNvSpPr>
                <a:spLocks noEditPoints="1"/>
              </p:cNvSpPr>
              <p:nvPr/>
            </p:nvSpPr>
            <p:spPr bwMode="auto">
              <a:xfrm>
                <a:off x="8924116" y="3944007"/>
                <a:ext cx="899334" cy="249208"/>
              </a:xfrm>
              <a:custGeom>
                <a:avLst/>
                <a:gdLst>
                  <a:gd name="T0" fmla="*/ 2234 w 2234"/>
                  <a:gd name="T1" fmla="*/ 479 h 619"/>
                  <a:gd name="T2" fmla="*/ 143 w 2234"/>
                  <a:gd name="T3" fmla="*/ 0 h 619"/>
                  <a:gd name="T4" fmla="*/ 143 w 2234"/>
                  <a:gd name="T5" fmla="*/ 619 h 619"/>
                  <a:gd name="T6" fmla="*/ 1927 w 2234"/>
                  <a:gd name="T7" fmla="*/ 422 h 619"/>
                  <a:gd name="T8" fmla="*/ 1125 w 2234"/>
                  <a:gd name="T9" fmla="*/ 114 h 619"/>
                  <a:gd name="T10" fmla="*/ 1125 w 2234"/>
                  <a:gd name="T11" fmla="*/ 202 h 619"/>
                  <a:gd name="T12" fmla="*/ 1125 w 2234"/>
                  <a:gd name="T13" fmla="*/ 270 h 619"/>
                  <a:gd name="T14" fmla="*/ 1125 w 2234"/>
                  <a:gd name="T15" fmla="*/ 358 h 619"/>
                  <a:gd name="T16" fmla="*/ 1125 w 2234"/>
                  <a:gd name="T17" fmla="*/ 419 h 619"/>
                  <a:gd name="T18" fmla="*/ 1125 w 2234"/>
                  <a:gd name="T19" fmla="*/ 507 h 619"/>
                  <a:gd name="T20" fmla="*/ 959 w 2234"/>
                  <a:gd name="T21" fmla="*/ 114 h 619"/>
                  <a:gd name="T22" fmla="*/ 959 w 2234"/>
                  <a:gd name="T23" fmla="*/ 202 h 619"/>
                  <a:gd name="T24" fmla="*/ 959 w 2234"/>
                  <a:gd name="T25" fmla="*/ 270 h 619"/>
                  <a:gd name="T26" fmla="*/ 959 w 2234"/>
                  <a:gd name="T27" fmla="*/ 358 h 619"/>
                  <a:gd name="T28" fmla="*/ 959 w 2234"/>
                  <a:gd name="T29" fmla="*/ 419 h 619"/>
                  <a:gd name="T30" fmla="*/ 959 w 2234"/>
                  <a:gd name="T31" fmla="*/ 507 h 619"/>
                  <a:gd name="T32" fmla="*/ 796 w 2234"/>
                  <a:gd name="T33" fmla="*/ 114 h 619"/>
                  <a:gd name="T34" fmla="*/ 796 w 2234"/>
                  <a:gd name="T35" fmla="*/ 202 h 619"/>
                  <a:gd name="T36" fmla="*/ 796 w 2234"/>
                  <a:gd name="T37" fmla="*/ 270 h 619"/>
                  <a:gd name="T38" fmla="*/ 796 w 2234"/>
                  <a:gd name="T39" fmla="*/ 358 h 619"/>
                  <a:gd name="T40" fmla="*/ 796 w 2234"/>
                  <a:gd name="T41" fmla="*/ 419 h 619"/>
                  <a:gd name="T42" fmla="*/ 796 w 2234"/>
                  <a:gd name="T43" fmla="*/ 507 h 619"/>
                  <a:gd name="T44" fmla="*/ 633 w 2234"/>
                  <a:gd name="T45" fmla="*/ 114 h 619"/>
                  <a:gd name="T46" fmla="*/ 633 w 2234"/>
                  <a:gd name="T47" fmla="*/ 202 h 619"/>
                  <a:gd name="T48" fmla="*/ 633 w 2234"/>
                  <a:gd name="T49" fmla="*/ 270 h 619"/>
                  <a:gd name="T50" fmla="*/ 633 w 2234"/>
                  <a:gd name="T51" fmla="*/ 358 h 619"/>
                  <a:gd name="T52" fmla="*/ 633 w 2234"/>
                  <a:gd name="T53" fmla="*/ 419 h 619"/>
                  <a:gd name="T54" fmla="*/ 633 w 2234"/>
                  <a:gd name="T55" fmla="*/ 507 h 619"/>
                  <a:gd name="T56" fmla="*/ 467 w 2234"/>
                  <a:gd name="T57" fmla="*/ 114 h 619"/>
                  <a:gd name="T58" fmla="*/ 467 w 2234"/>
                  <a:gd name="T59" fmla="*/ 202 h 619"/>
                  <a:gd name="T60" fmla="*/ 467 w 2234"/>
                  <a:gd name="T61" fmla="*/ 270 h 619"/>
                  <a:gd name="T62" fmla="*/ 467 w 2234"/>
                  <a:gd name="T63" fmla="*/ 358 h 619"/>
                  <a:gd name="T64" fmla="*/ 467 w 2234"/>
                  <a:gd name="T65" fmla="*/ 419 h 619"/>
                  <a:gd name="T66" fmla="*/ 467 w 2234"/>
                  <a:gd name="T67" fmla="*/ 507 h 619"/>
                  <a:gd name="T68" fmla="*/ 302 w 2234"/>
                  <a:gd name="T69" fmla="*/ 114 h 619"/>
                  <a:gd name="T70" fmla="*/ 302 w 2234"/>
                  <a:gd name="T71" fmla="*/ 202 h 619"/>
                  <a:gd name="T72" fmla="*/ 302 w 2234"/>
                  <a:gd name="T73" fmla="*/ 270 h 619"/>
                  <a:gd name="T74" fmla="*/ 302 w 2234"/>
                  <a:gd name="T75" fmla="*/ 358 h 619"/>
                  <a:gd name="T76" fmla="*/ 302 w 2234"/>
                  <a:gd name="T77" fmla="*/ 419 h 619"/>
                  <a:gd name="T78" fmla="*/ 302 w 2234"/>
                  <a:gd name="T79" fmla="*/ 507 h 619"/>
                  <a:gd name="T80" fmla="*/ 139 w 2234"/>
                  <a:gd name="T81" fmla="*/ 114 h 619"/>
                  <a:gd name="T82" fmla="*/ 139 w 2234"/>
                  <a:gd name="T83" fmla="*/ 202 h 619"/>
                  <a:gd name="T84" fmla="*/ 139 w 2234"/>
                  <a:gd name="T85" fmla="*/ 270 h 619"/>
                  <a:gd name="T86" fmla="*/ 139 w 2234"/>
                  <a:gd name="T87" fmla="*/ 358 h 619"/>
                  <a:gd name="T88" fmla="*/ 139 w 2234"/>
                  <a:gd name="T89" fmla="*/ 419 h 619"/>
                  <a:gd name="T90" fmla="*/ 139 w 2234"/>
                  <a:gd name="T91" fmla="*/ 507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34" h="619">
                    <a:moveTo>
                      <a:pt x="143" y="619"/>
                    </a:moveTo>
                    <a:cubicBezTo>
                      <a:pt x="2091" y="619"/>
                      <a:pt x="2091" y="619"/>
                      <a:pt x="2091" y="619"/>
                    </a:cubicBezTo>
                    <a:cubicBezTo>
                      <a:pt x="2170" y="619"/>
                      <a:pt x="2234" y="558"/>
                      <a:pt x="2234" y="479"/>
                    </a:cubicBezTo>
                    <a:cubicBezTo>
                      <a:pt x="2234" y="143"/>
                      <a:pt x="2234" y="143"/>
                      <a:pt x="2234" y="143"/>
                    </a:cubicBezTo>
                    <a:cubicBezTo>
                      <a:pt x="2234" y="64"/>
                      <a:pt x="2170" y="0"/>
                      <a:pt x="2091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64" y="0"/>
                      <a:pt x="0" y="64"/>
                      <a:pt x="0" y="143"/>
                    </a:cubicBezTo>
                    <a:cubicBezTo>
                      <a:pt x="0" y="479"/>
                      <a:pt x="0" y="479"/>
                      <a:pt x="0" y="479"/>
                    </a:cubicBezTo>
                    <a:cubicBezTo>
                      <a:pt x="0" y="558"/>
                      <a:pt x="64" y="619"/>
                      <a:pt x="143" y="619"/>
                    </a:cubicBezTo>
                    <a:close/>
                    <a:moveTo>
                      <a:pt x="1927" y="198"/>
                    </a:moveTo>
                    <a:cubicBezTo>
                      <a:pt x="1989" y="198"/>
                      <a:pt x="2040" y="248"/>
                      <a:pt x="2040" y="310"/>
                    </a:cubicBezTo>
                    <a:cubicBezTo>
                      <a:pt x="2040" y="373"/>
                      <a:pt x="1989" y="422"/>
                      <a:pt x="1927" y="422"/>
                    </a:cubicBezTo>
                    <a:cubicBezTo>
                      <a:pt x="1866" y="422"/>
                      <a:pt x="1815" y="373"/>
                      <a:pt x="1815" y="310"/>
                    </a:cubicBezTo>
                    <a:cubicBezTo>
                      <a:pt x="1815" y="248"/>
                      <a:pt x="1866" y="198"/>
                      <a:pt x="1927" y="198"/>
                    </a:cubicBezTo>
                    <a:close/>
                    <a:moveTo>
                      <a:pt x="1125" y="114"/>
                    </a:moveTo>
                    <a:cubicBezTo>
                      <a:pt x="1213" y="114"/>
                      <a:pt x="1213" y="114"/>
                      <a:pt x="1213" y="114"/>
                    </a:cubicBezTo>
                    <a:cubicBezTo>
                      <a:pt x="1213" y="202"/>
                      <a:pt x="1213" y="202"/>
                      <a:pt x="1213" y="202"/>
                    </a:cubicBezTo>
                    <a:cubicBezTo>
                      <a:pt x="1125" y="202"/>
                      <a:pt x="1125" y="202"/>
                      <a:pt x="1125" y="202"/>
                    </a:cubicBezTo>
                    <a:cubicBezTo>
                      <a:pt x="1125" y="114"/>
                      <a:pt x="1125" y="114"/>
                      <a:pt x="1125" y="114"/>
                    </a:cubicBezTo>
                    <a:cubicBezTo>
                      <a:pt x="1125" y="114"/>
                      <a:pt x="1125" y="114"/>
                      <a:pt x="1125" y="114"/>
                    </a:cubicBezTo>
                    <a:close/>
                    <a:moveTo>
                      <a:pt x="1125" y="270"/>
                    </a:moveTo>
                    <a:cubicBezTo>
                      <a:pt x="1213" y="270"/>
                      <a:pt x="1213" y="270"/>
                      <a:pt x="1213" y="270"/>
                    </a:cubicBezTo>
                    <a:cubicBezTo>
                      <a:pt x="1213" y="358"/>
                      <a:pt x="1213" y="358"/>
                      <a:pt x="1213" y="358"/>
                    </a:cubicBezTo>
                    <a:cubicBezTo>
                      <a:pt x="1125" y="358"/>
                      <a:pt x="1125" y="358"/>
                      <a:pt x="1125" y="358"/>
                    </a:cubicBezTo>
                    <a:cubicBezTo>
                      <a:pt x="1125" y="270"/>
                      <a:pt x="1125" y="270"/>
                      <a:pt x="1125" y="270"/>
                    </a:cubicBezTo>
                    <a:cubicBezTo>
                      <a:pt x="1125" y="270"/>
                      <a:pt x="1125" y="270"/>
                      <a:pt x="1125" y="270"/>
                    </a:cubicBezTo>
                    <a:close/>
                    <a:moveTo>
                      <a:pt x="1125" y="419"/>
                    </a:moveTo>
                    <a:cubicBezTo>
                      <a:pt x="1213" y="419"/>
                      <a:pt x="1213" y="419"/>
                      <a:pt x="1213" y="419"/>
                    </a:cubicBezTo>
                    <a:cubicBezTo>
                      <a:pt x="1213" y="507"/>
                      <a:pt x="1213" y="507"/>
                      <a:pt x="1213" y="507"/>
                    </a:cubicBezTo>
                    <a:cubicBezTo>
                      <a:pt x="1125" y="507"/>
                      <a:pt x="1125" y="507"/>
                      <a:pt x="1125" y="507"/>
                    </a:cubicBezTo>
                    <a:cubicBezTo>
                      <a:pt x="1125" y="419"/>
                      <a:pt x="1125" y="419"/>
                      <a:pt x="1125" y="419"/>
                    </a:cubicBezTo>
                    <a:cubicBezTo>
                      <a:pt x="1125" y="419"/>
                      <a:pt x="1125" y="419"/>
                      <a:pt x="1125" y="419"/>
                    </a:cubicBezTo>
                    <a:close/>
                    <a:moveTo>
                      <a:pt x="959" y="114"/>
                    </a:moveTo>
                    <a:cubicBezTo>
                      <a:pt x="1050" y="114"/>
                      <a:pt x="1050" y="114"/>
                      <a:pt x="1050" y="114"/>
                    </a:cubicBezTo>
                    <a:cubicBezTo>
                      <a:pt x="1050" y="202"/>
                      <a:pt x="1050" y="202"/>
                      <a:pt x="1050" y="202"/>
                    </a:cubicBezTo>
                    <a:cubicBezTo>
                      <a:pt x="959" y="202"/>
                      <a:pt x="959" y="202"/>
                      <a:pt x="959" y="202"/>
                    </a:cubicBezTo>
                    <a:cubicBezTo>
                      <a:pt x="959" y="114"/>
                      <a:pt x="959" y="114"/>
                      <a:pt x="959" y="114"/>
                    </a:cubicBezTo>
                    <a:cubicBezTo>
                      <a:pt x="959" y="114"/>
                      <a:pt x="959" y="114"/>
                      <a:pt x="959" y="114"/>
                    </a:cubicBezTo>
                    <a:close/>
                    <a:moveTo>
                      <a:pt x="959" y="270"/>
                    </a:moveTo>
                    <a:cubicBezTo>
                      <a:pt x="1050" y="270"/>
                      <a:pt x="1050" y="270"/>
                      <a:pt x="1050" y="270"/>
                    </a:cubicBezTo>
                    <a:cubicBezTo>
                      <a:pt x="1050" y="358"/>
                      <a:pt x="1050" y="358"/>
                      <a:pt x="1050" y="358"/>
                    </a:cubicBezTo>
                    <a:cubicBezTo>
                      <a:pt x="959" y="358"/>
                      <a:pt x="959" y="358"/>
                      <a:pt x="959" y="358"/>
                    </a:cubicBezTo>
                    <a:cubicBezTo>
                      <a:pt x="959" y="270"/>
                      <a:pt x="959" y="270"/>
                      <a:pt x="959" y="270"/>
                    </a:cubicBezTo>
                    <a:cubicBezTo>
                      <a:pt x="959" y="270"/>
                      <a:pt x="959" y="270"/>
                      <a:pt x="959" y="270"/>
                    </a:cubicBezTo>
                    <a:close/>
                    <a:moveTo>
                      <a:pt x="959" y="419"/>
                    </a:moveTo>
                    <a:cubicBezTo>
                      <a:pt x="1050" y="419"/>
                      <a:pt x="1050" y="419"/>
                      <a:pt x="1050" y="419"/>
                    </a:cubicBezTo>
                    <a:cubicBezTo>
                      <a:pt x="1050" y="507"/>
                      <a:pt x="1050" y="507"/>
                      <a:pt x="1050" y="507"/>
                    </a:cubicBezTo>
                    <a:cubicBezTo>
                      <a:pt x="959" y="507"/>
                      <a:pt x="959" y="507"/>
                      <a:pt x="959" y="507"/>
                    </a:cubicBezTo>
                    <a:cubicBezTo>
                      <a:pt x="959" y="419"/>
                      <a:pt x="959" y="419"/>
                      <a:pt x="959" y="419"/>
                    </a:cubicBezTo>
                    <a:cubicBezTo>
                      <a:pt x="959" y="419"/>
                      <a:pt x="959" y="419"/>
                      <a:pt x="959" y="419"/>
                    </a:cubicBezTo>
                    <a:close/>
                    <a:moveTo>
                      <a:pt x="796" y="114"/>
                    </a:moveTo>
                    <a:cubicBezTo>
                      <a:pt x="886" y="114"/>
                      <a:pt x="886" y="114"/>
                      <a:pt x="886" y="114"/>
                    </a:cubicBezTo>
                    <a:cubicBezTo>
                      <a:pt x="886" y="202"/>
                      <a:pt x="886" y="202"/>
                      <a:pt x="886" y="202"/>
                    </a:cubicBezTo>
                    <a:cubicBezTo>
                      <a:pt x="796" y="202"/>
                      <a:pt x="796" y="202"/>
                      <a:pt x="796" y="202"/>
                    </a:cubicBezTo>
                    <a:cubicBezTo>
                      <a:pt x="796" y="114"/>
                      <a:pt x="796" y="114"/>
                      <a:pt x="796" y="114"/>
                    </a:cubicBezTo>
                    <a:cubicBezTo>
                      <a:pt x="796" y="114"/>
                      <a:pt x="796" y="114"/>
                      <a:pt x="796" y="114"/>
                    </a:cubicBezTo>
                    <a:close/>
                    <a:moveTo>
                      <a:pt x="796" y="270"/>
                    </a:moveTo>
                    <a:cubicBezTo>
                      <a:pt x="886" y="270"/>
                      <a:pt x="886" y="270"/>
                      <a:pt x="886" y="270"/>
                    </a:cubicBezTo>
                    <a:cubicBezTo>
                      <a:pt x="886" y="358"/>
                      <a:pt x="886" y="358"/>
                      <a:pt x="886" y="358"/>
                    </a:cubicBezTo>
                    <a:cubicBezTo>
                      <a:pt x="796" y="358"/>
                      <a:pt x="796" y="358"/>
                      <a:pt x="796" y="358"/>
                    </a:cubicBezTo>
                    <a:cubicBezTo>
                      <a:pt x="796" y="270"/>
                      <a:pt x="796" y="270"/>
                      <a:pt x="796" y="270"/>
                    </a:cubicBezTo>
                    <a:cubicBezTo>
                      <a:pt x="796" y="270"/>
                      <a:pt x="796" y="270"/>
                      <a:pt x="796" y="270"/>
                    </a:cubicBezTo>
                    <a:close/>
                    <a:moveTo>
                      <a:pt x="796" y="419"/>
                    </a:moveTo>
                    <a:cubicBezTo>
                      <a:pt x="886" y="419"/>
                      <a:pt x="886" y="419"/>
                      <a:pt x="886" y="419"/>
                    </a:cubicBezTo>
                    <a:cubicBezTo>
                      <a:pt x="886" y="507"/>
                      <a:pt x="886" y="507"/>
                      <a:pt x="886" y="507"/>
                    </a:cubicBezTo>
                    <a:cubicBezTo>
                      <a:pt x="796" y="507"/>
                      <a:pt x="796" y="507"/>
                      <a:pt x="796" y="507"/>
                    </a:cubicBezTo>
                    <a:cubicBezTo>
                      <a:pt x="796" y="419"/>
                      <a:pt x="796" y="419"/>
                      <a:pt x="796" y="419"/>
                    </a:cubicBezTo>
                    <a:cubicBezTo>
                      <a:pt x="796" y="419"/>
                      <a:pt x="796" y="419"/>
                      <a:pt x="796" y="419"/>
                    </a:cubicBezTo>
                    <a:close/>
                    <a:moveTo>
                      <a:pt x="633" y="114"/>
                    </a:moveTo>
                    <a:cubicBezTo>
                      <a:pt x="721" y="114"/>
                      <a:pt x="721" y="114"/>
                      <a:pt x="721" y="114"/>
                    </a:cubicBezTo>
                    <a:cubicBezTo>
                      <a:pt x="721" y="202"/>
                      <a:pt x="721" y="202"/>
                      <a:pt x="721" y="202"/>
                    </a:cubicBezTo>
                    <a:cubicBezTo>
                      <a:pt x="633" y="202"/>
                      <a:pt x="633" y="202"/>
                      <a:pt x="633" y="202"/>
                    </a:cubicBezTo>
                    <a:cubicBezTo>
                      <a:pt x="633" y="114"/>
                      <a:pt x="633" y="114"/>
                      <a:pt x="633" y="114"/>
                    </a:cubicBezTo>
                    <a:cubicBezTo>
                      <a:pt x="633" y="114"/>
                      <a:pt x="633" y="114"/>
                      <a:pt x="633" y="114"/>
                    </a:cubicBezTo>
                    <a:close/>
                    <a:moveTo>
                      <a:pt x="633" y="270"/>
                    </a:moveTo>
                    <a:cubicBezTo>
                      <a:pt x="721" y="270"/>
                      <a:pt x="721" y="270"/>
                      <a:pt x="721" y="270"/>
                    </a:cubicBezTo>
                    <a:cubicBezTo>
                      <a:pt x="721" y="358"/>
                      <a:pt x="721" y="358"/>
                      <a:pt x="721" y="358"/>
                    </a:cubicBezTo>
                    <a:cubicBezTo>
                      <a:pt x="633" y="358"/>
                      <a:pt x="633" y="358"/>
                      <a:pt x="633" y="358"/>
                    </a:cubicBezTo>
                    <a:cubicBezTo>
                      <a:pt x="633" y="270"/>
                      <a:pt x="633" y="270"/>
                      <a:pt x="633" y="270"/>
                    </a:cubicBezTo>
                    <a:cubicBezTo>
                      <a:pt x="633" y="270"/>
                      <a:pt x="633" y="270"/>
                      <a:pt x="633" y="270"/>
                    </a:cubicBezTo>
                    <a:close/>
                    <a:moveTo>
                      <a:pt x="633" y="419"/>
                    </a:moveTo>
                    <a:cubicBezTo>
                      <a:pt x="721" y="419"/>
                      <a:pt x="721" y="419"/>
                      <a:pt x="721" y="419"/>
                    </a:cubicBezTo>
                    <a:cubicBezTo>
                      <a:pt x="721" y="507"/>
                      <a:pt x="721" y="507"/>
                      <a:pt x="721" y="507"/>
                    </a:cubicBezTo>
                    <a:cubicBezTo>
                      <a:pt x="633" y="507"/>
                      <a:pt x="633" y="507"/>
                      <a:pt x="633" y="507"/>
                    </a:cubicBezTo>
                    <a:cubicBezTo>
                      <a:pt x="633" y="419"/>
                      <a:pt x="633" y="419"/>
                      <a:pt x="633" y="419"/>
                    </a:cubicBezTo>
                    <a:cubicBezTo>
                      <a:pt x="633" y="419"/>
                      <a:pt x="633" y="419"/>
                      <a:pt x="633" y="419"/>
                    </a:cubicBezTo>
                    <a:close/>
                    <a:moveTo>
                      <a:pt x="467" y="114"/>
                    </a:moveTo>
                    <a:cubicBezTo>
                      <a:pt x="556" y="114"/>
                      <a:pt x="556" y="114"/>
                      <a:pt x="556" y="114"/>
                    </a:cubicBezTo>
                    <a:cubicBezTo>
                      <a:pt x="556" y="202"/>
                      <a:pt x="556" y="202"/>
                      <a:pt x="556" y="202"/>
                    </a:cubicBezTo>
                    <a:cubicBezTo>
                      <a:pt x="467" y="202"/>
                      <a:pt x="467" y="202"/>
                      <a:pt x="467" y="202"/>
                    </a:cubicBezTo>
                    <a:cubicBezTo>
                      <a:pt x="467" y="114"/>
                      <a:pt x="467" y="114"/>
                      <a:pt x="467" y="114"/>
                    </a:cubicBezTo>
                    <a:cubicBezTo>
                      <a:pt x="467" y="114"/>
                      <a:pt x="467" y="114"/>
                      <a:pt x="467" y="114"/>
                    </a:cubicBezTo>
                    <a:close/>
                    <a:moveTo>
                      <a:pt x="467" y="270"/>
                    </a:moveTo>
                    <a:cubicBezTo>
                      <a:pt x="556" y="270"/>
                      <a:pt x="556" y="270"/>
                      <a:pt x="556" y="270"/>
                    </a:cubicBezTo>
                    <a:cubicBezTo>
                      <a:pt x="556" y="358"/>
                      <a:pt x="556" y="358"/>
                      <a:pt x="556" y="358"/>
                    </a:cubicBezTo>
                    <a:cubicBezTo>
                      <a:pt x="467" y="358"/>
                      <a:pt x="467" y="358"/>
                      <a:pt x="467" y="358"/>
                    </a:cubicBezTo>
                    <a:cubicBezTo>
                      <a:pt x="467" y="270"/>
                      <a:pt x="467" y="270"/>
                      <a:pt x="467" y="270"/>
                    </a:cubicBezTo>
                    <a:cubicBezTo>
                      <a:pt x="467" y="270"/>
                      <a:pt x="467" y="270"/>
                      <a:pt x="467" y="270"/>
                    </a:cubicBezTo>
                    <a:close/>
                    <a:moveTo>
                      <a:pt x="467" y="419"/>
                    </a:moveTo>
                    <a:cubicBezTo>
                      <a:pt x="556" y="419"/>
                      <a:pt x="556" y="419"/>
                      <a:pt x="556" y="419"/>
                    </a:cubicBezTo>
                    <a:cubicBezTo>
                      <a:pt x="556" y="507"/>
                      <a:pt x="556" y="507"/>
                      <a:pt x="556" y="507"/>
                    </a:cubicBezTo>
                    <a:cubicBezTo>
                      <a:pt x="467" y="507"/>
                      <a:pt x="467" y="507"/>
                      <a:pt x="467" y="507"/>
                    </a:cubicBezTo>
                    <a:cubicBezTo>
                      <a:pt x="467" y="419"/>
                      <a:pt x="467" y="419"/>
                      <a:pt x="467" y="419"/>
                    </a:cubicBezTo>
                    <a:cubicBezTo>
                      <a:pt x="467" y="419"/>
                      <a:pt x="467" y="419"/>
                      <a:pt x="467" y="419"/>
                    </a:cubicBezTo>
                    <a:close/>
                    <a:moveTo>
                      <a:pt x="302" y="114"/>
                    </a:moveTo>
                    <a:cubicBezTo>
                      <a:pt x="392" y="114"/>
                      <a:pt x="392" y="114"/>
                      <a:pt x="392" y="114"/>
                    </a:cubicBezTo>
                    <a:cubicBezTo>
                      <a:pt x="392" y="202"/>
                      <a:pt x="392" y="202"/>
                      <a:pt x="392" y="202"/>
                    </a:cubicBezTo>
                    <a:cubicBezTo>
                      <a:pt x="302" y="202"/>
                      <a:pt x="302" y="202"/>
                      <a:pt x="302" y="202"/>
                    </a:cubicBezTo>
                    <a:cubicBezTo>
                      <a:pt x="302" y="114"/>
                      <a:pt x="302" y="114"/>
                      <a:pt x="302" y="114"/>
                    </a:cubicBezTo>
                    <a:cubicBezTo>
                      <a:pt x="302" y="114"/>
                      <a:pt x="302" y="114"/>
                      <a:pt x="302" y="114"/>
                    </a:cubicBezTo>
                    <a:close/>
                    <a:moveTo>
                      <a:pt x="302" y="270"/>
                    </a:moveTo>
                    <a:cubicBezTo>
                      <a:pt x="392" y="270"/>
                      <a:pt x="392" y="270"/>
                      <a:pt x="392" y="270"/>
                    </a:cubicBezTo>
                    <a:cubicBezTo>
                      <a:pt x="392" y="358"/>
                      <a:pt x="392" y="358"/>
                      <a:pt x="392" y="358"/>
                    </a:cubicBezTo>
                    <a:cubicBezTo>
                      <a:pt x="302" y="358"/>
                      <a:pt x="302" y="358"/>
                      <a:pt x="302" y="358"/>
                    </a:cubicBezTo>
                    <a:cubicBezTo>
                      <a:pt x="302" y="270"/>
                      <a:pt x="302" y="270"/>
                      <a:pt x="302" y="270"/>
                    </a:cubicBezTo>
                    <a:cubicBezTo>
                      <a:pt x="302" y="270"/>
                      <a:pt x="302" y="270"/>
                      <a:pt x="302" y="270"/>
                    </a:cubicBezTo>
                    <a:close/>
                    <a:moveTo>
                      <a:pt x="302" y="419"/>
                    </a:moveTo>
                    <a:cubicBezTo>
                      <a:pt x="392" y="419"/>
                      <a:pt x="392" y="419"/>
                      <a:pt x="392" y="419"/>
                    </a:cubicBezTo>
                    <a:cubicBezTo>
                      <a:pt x="392" y="507"/>
                      <a:pt x="392" y="507"/>
                      <a:pt x="392" y="507"/>
                    </a:cubicBezTo>
                    <a:cubicBezTo>
                      <a:pt x="302" y="507"/>
                      <a:pt x="302" y="507"/>
                      <a:pt x="302" y="507"/>
                    </a:cubicBezTo>
                    <a:cubicBezTo>
                      <a:pt x="302" y="419"/>
                      <a:pt x="302" y="419"/>
                      <a:pt x="302" y="419"/>
                    </a:cubicBezTo>
                    <a:cubicBezTo>
                      <a:pt x="302" y="419"/>
                      <a:pt x="302" y="419"/>
                      <a:pt x="302" y="419"/>
                    </a:cubicBezTo>
                    <a:close/>
                    <a:moveTo>
                      <a:pt x="139" y="114"/>
                    </a:moveTo>
                    <a:cubicBezTo>
                      <a:pt x="227" y="114"/>
                      <a:pt x="227" y="114"/>
                      <a:pt x="227" y="114"/>
                    </a:cubicBezTo>
                    <a:cubicBezTo>
                      <a:pt x="227" y="202"/>
                      <a:pt x="227" y="202"/>
                      <a:pt x="227" y="202"/>
                    </a:cubicBezTo>
                    <a:cubicBezTo>
                      <a:pt x="139" y="202"/>
                      <a:pt x="139" y="202"/>
                      <a:pt x="139" y="202"/>
                    </a:cubicBezTo>
                    <a:cubicBezTo>
                      <a:pt x="139" y="114"/>
                      <a:pt x="139" y="114"/>
                      <a:pt x="139" y="114"/>
                    </a:cubicBezTo>
                    <a:cubicBezTo>
                      <a:pt x="139" y="114"/>
                      <a:pt x="139" y="114"/>
                      <a:pt x="139" y="114"/>
                    </a:cubicBezTo>
                    <a:close/>
                    <a:moveTo>
                      <a:pt x="139" y="270"/>
                    </a:moveTo>
                    <a:cubicBezTo>
                      <a:pt x="227" y="270"/>
                      <a:pt x="227" y="270"/>
                      <a:pt x="227" y="270"/>
                    </a:cubicBezTo>
                    <a:cubicBezTo>
                      <a:pt x="227" y="358"/>
                      <a:pt x="227" y="358"/>
                      <a:pt x="227" y="358"/>
                    </a:cubicBezTo>
                    <a:cubicBezTo>
                      <a:pt x="139" y="358"/>
                      <a:pt x="139" y="358"/>
                      <a:pt x="139" y="358"/>
                    </a:cubicBezTo>
                    <a:cubicBezTo>
                      <a:pt x="139" y="270"/>
                      <a:pt x="139" y="270"/>
                      <a:pt x="139" y="270"/>
                    </a:cubicBezTo>
                    <a:cubicBezTo>
                      <a:pt x="139" y="270"/>
                      <a:pt x="139" y="270"/>
                      <a:pt x="139" y="270"/>
                    </a:cubicBezTo>
                    <a:close/>
                    <a:moveTo>
                      <a:pt x="139" y="419"/>
                    </a:moveTo>
                    <a:cubicBezTo>
                      <a:pt x="227" y="419"/>
                      <a:pt x="227" y="419"/>
                      <a:pt x="227" y="419"/>
                    </a:cubicBezTo>
                    <a:cubicBezTo>
                      <a:pt x="227" y="507"/>
                      <a:pt x="227" y="507"/>
                      <a:pt x="227" y="507"/>
                    </a:cubicBezTo>
                    <a:cubicBezTo>
                      <a:pt x="139" y="507"/>
                      <a:pt x="139" y="507"/>
                      <a:pt x="139" y="507"/>
                    </a:cubicBezTo>
                    <a:cubicBezTo>
                      <a:pt x="139" y="419"/>
                      <a:pt x="139" y="419"/>
                      <a:pt x="139" y="419"/>
                    </a:cubicBezTo>
                    <a:cubicBezTo>
                      <a:pt x="139" y="419"/>
                      <a:pt x="139" y="419"/>
                      <a:pt x="139" y="419"/>
                    </a:cubicBezTo>
                    <a:close/>
                  </a:path>
                </a:pathLst>
              </a:custGeom>
              <a:solidFill>
                <a:srgbClr val="59595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294"/>
                <a:endParaRPr lang="en-US" sz="14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7159701" y="3272206"/>
              <a:ext cx="559535" cy="155009"/>
              <a:chOff x="8924116" y="3944007"/>
              <a:chExt cx="899334" cy="249208"/>
            </a:xfrm>
          </p:grpSpPr>
          <p:sp>
            <p:nvSpPr>
              <p:cNvPr id="37" name="Rectangle 36"/>
              <p:cNvSpPr/>
              <p:nvPr/>
            </p:nvSpPr>
            <p:spPr bwMode="auto">
              <a:xfrm>
                <a:off x="8963025" y="3976688"/>
                <a:ext cx="802481" cy="19288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1429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8" name="Freeform 6"/>
              <p:cNvSpPr>
                <a:spLocks noEditPoints="1"/>
              </p:cNvSpPr>
              <p:nvPr/>
            </p:nvSpPr>
            <p:spPr bwMode="auto">
              <a:xfrm>
                <a:off x="8924116" y="3944007"/>
                <a:ext cx="899334" cy="249208"/>
              </a:xfrm>
              <a:custGeom>
                <a:avLst/>
                <a:gdLst>
                  <a:gd name="T0" fmla="*/ 2234 w 2234"/>
                  <a:gd name="T1" fmla="*/ 479 h 619"/>
                  <a:gd name="T2" fmla="*/ 143 w 2234"/>
                  <a:gd name="T3" fmla="*/ 0 h 619"/>
                  <a:gd name="T4" fmla="*/ 143 w 2234"/>
                  <a:gd name="T5" fmla="*/ 619 h 619"/>
                  <a:gd name="T6" fmla="*/ 1927 w 2234"/>
                  <a:gd name="T7" fmla="*/ 422 h 619"/>
                  <a:gd name="T8" fmla="*/ 1125 w 2234"/>
                  <a:gd name="T9" fmla="*/ 114 h 619"/>
                  <a:gd name="T10" fmla="*/ 1125 w 2234"/>
                  <a:gd name="T11" fmla="*/ 202 h 619"/>
                  <a:gd name="T12" fmla="*/ 1125 w 2234"/>
                  <a:gd name="T13" fmla="*/ 270 h 619"/>
                  <a:gd name="T14" fmla="*/ 1125 w 2234"/>
                  <a:gd name="T15" fmla="*/ 358 h 619"/>
                  <a:gd name="T16" fmla="*/ 1125 w 2234"/>
                  <a:gd name="T17" fmla="*/ 419 h 619"/>
                  <a:gd name="T18" fmla="*/ 1125 w 2234"/>
                  <a:gd name="T19" fmla="*/ 507 h 619"/>
                  <a:gd name="T20" fmla="*/ 959 w 2234"/>
                  <a:gd name="T21" fmla="*/ 114 h 619"/>
                  <a:gd name="T22" fmla="*/ 959 w 2234"/>
                  <a:gd name="T23" fmla="*/ 202 h 619"/>
                  <a:gd name="T24" fmla="*/ 959 w 2234"/>
                  <a:gd name="T25" fmla="*/ 270 h 619"/>
                  <a:gd name="T26" fmla="*/ 959 w 2234"/>
                  <a:gd name="T27" fmla="*/ 358 h 619"/>
                  <a:gd name="T28" fmla="*/ 959 w 2234"/>
                  <a:gd name="T29" fmla="*/ 419 h 619"/>
                  <a:gd name="T30" fmla="*/ 959 w 2234"/>
                  <a:gd name="T31" fmla="*/ 507 h 619"/>
                  <a:gd name="T32" fmla="*/ 796 w 2234"/>
                  <a:gd name="T33" fmla="*/ 114 h 619"/>
                  <a:gd name="T34" fmla="*/ 796 w 2234"/>
                  <a:gd name="T35" fmla="*/ 202 h 619"/>
                  <a:gd name="T36" fmla="*/ 796 w 2234"/>
                  <a:gd name="T37" fmla="*/ 270 h 619"/>
                  <a:gd name="T38" fmla="*/ 796 w 2234"/>
                  <a:gd name="T39" fmla="*/ 358 h 619"/>
                  <a:gd name="T40" fmla="*/ 796 w 2234"/>
                  <a:gd name="T41" fmla="*/ 419 h 619"/>
                  <a:gd name="T42" fmla="*/ 796 w 2234"/>
                  <a:gd name="T43" fmla="*/ 507 h 619"/>
                  <a:gd name="T44" fmla="*/ 633 w 2234"/>
                  <a:gd name="T45" fmla="*/ 114 h 619"/>
                  <a:gd name="T46" fmla="*/ 633 w 2234"/>
                  <a:gd name="T47" fmla="*/ 202 h 619"/>
                  <a:gd name="T48" fmla="*/ 633 w 2234"/>
                  <a:gd name="T49" fmla="*/ 270 h 619"/>
                  <a:gd name="T50" fmla="*/ 633 w 2234"/>
                  <a:gd name="T51" fmla="*/ 358 h 619"/>
                  <a:gd name="T52" fmla="*/ 633 w 2234"/>
                  <a:gd name="T53" fmla="*/ 419 h 619"/>
                  <a:gd name="T54" fmla="*/ 633 w 2234"/>
                  <a:gd name="T55" fmla="*/ 507 h 619"/>
                  <a:gd name="T56" fmla="*/ 467 w 2234"/>
                  <a:gd name="T57" fmla="*/ 114 h 619"/>
                  <a:gd name="T58" fmla="*/ 467 w 2234"/>
                  <a:gd name="T59" fmla="*/ 202 h 619"/>
                  <a:gd name="T60" fmla="*/ 467 w 2234"/>
                  <a:gd name="T61" fmla="*/ 270 h 619"/>
                  <a:gd name="T62" fmla="*/ 467 w 2234"/>
                  <a:gd name="T63" fmla="*/ 358 h 619"/>
                  <a:gd name="T64" fmla="*/ 467 w 2234"/>
                  <a:gd name="T65" fmla="*/ 419 h 619"/>
                  <a:gd name="T66" fmla="*/ 467 w 2234"/>
                  <a:gd name="T67" fmla="*/ 507 h 619"/>
                  <a:gd name="T68" fmla="*/ 302 w 2234"/>
                  <a:gd name="T69" fmla="*/ 114 h 619"/>
                  <a:gd name="T70" fmla="*/ 302 w 2234"/>
                  <a:gd name="T71" fmla="*/ 202 h 619"/>
                  <a:gd name="T72" fmla="*/ 302 w 2234"/>
                  <a:gd name="T73" fmla="*/ 270 h 619"/>
                  <a:gd name="T74" fmla="*/ 302 w 2234"/>
                  <a:gd name="T75" fmla="*/ 358 h 619"/>
                  <a:gd name="T76" fmla="*/ 302 w 2234"/>
                  <a:gd name="T77" fmla="*/ 419 h 619"/>
                  <a:gd name="T78" fmla="*/ 302 w 2234"/>
                  <a:gd name="T79" fmla="*/ 507 h 619"/>
                  <a:gd name="T80" fmla="*/ 139 w 2234"/>
                  <a:gd name="T81" fmla="*/ 114 h 619"/>
                  <a:gd name="T82" fmla="*/ 139 w 2234"/>
                  <a:gd name="T83" fmla="*/ 202 h 619"/>
                  <a:gd name="T84" fmla="*/ 139 w 2234"/>
                  <a:gd name="T85" fmla="*/ 270 h 619"/>
                  <a:gd name="T86" fmla="*/ 139 w 2234"/>
                  <a:gd name="T87" fmla="*/ 358 h 619"/>
                  <a:gd name="T88" fmla="*/ 139 w 2234"/>
                  <a:gd name="T89" fmla="*/ 419 h 619"/>
                  <a:gd name="T90" fmla="*/ 139 w 2234"/>
                  <a:gd name="T91" fmla="*/ 507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34" h="619">
                    <a:moveTo>
                      <a:pt x="143" y="619"/>
                    </a:moveTo>
                    <a:cubicBezTo>
                      <a:pt x="2091" y="619"/>
                      <a:pt x="2091" y="619"/>
                      <a:pt x="2091" y="619"/>
                    </a:cubicBezTo>
                    <a:cubicBezTo>
                      <a:pt x="2170" y="619"/>
                      <a:pt x="2234" y="558"/>
                      <a:pt x="2234" y="479"/>
                    </a:cubicBezTo>
                    <a:cubicBezTo>
                      <a:pt x="2234" y="143"/>
                      <a:pt x="2234" y="143"/>
                      <a:pt x="2234" y="143"/>
                    </a:cubicBezTo>
                    <a:cubicBezTo>
                      <a:pt x="2234" y="64"/>
                      <a:pt x="2170" y="0"/>
                      <a:pt x="2091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64" y="0"/>
                      <a:pt x="0" y="64"/>
                      <a:pt x="0" y="143"/>
                    </a:cubicBezTo>
                    <a:cubicBezTo>
                      <a:pt x="0" y="479"/>
                      <a:pt x="0" y="479"/>
                      <a:pt x="0" y="479"/>
                    </a:cubicBezTo>
                    <a:cubicBezTo>
                      <a:pt x="0" y="558"/>
                      <a:pt x="64" y="619"/>
                      <a:pt x="143" y="619"/>
                    </a:cubicBezTo>
                    <a:close/>
                    <a:moveTo>
                      <a:pt x="1927" y="198"/>
                    </a:moveTo>
                    <a:cubicBezTo>
                      <a:pt x="1989" y="198"/>
                      <a:pt x="2040" y="248"/>
                      <a:pt x="2040" y="310"/>
                    </a:cubicBezTo>
                    <a:cubicBezTo>
                      <a:pt x="2040" y="373"/>
                      <a:pt x="1989" y="422"/>
                      <a:pt x="1927" y="422"/>
                    </a:cubicBezTo>
                    <a:cubicBezTo>
                      <a:pt x="1866" y="422"/>
                      <a:pt x="1815" y="373"/>
                      <a:pt x="1815" y="310"/>
                    </a:cubicBezTo>
                    <a:cubicBezTo>
                      <a:pt x="1815" y="248"/>
                      <a:pt x="1866" y="198"/>
                      <a:pt x="1927" y="198"/>
                    </a:cubicBezTo>
                    <a:close/>
                    <a:moveTo>
                      <a:pt x="1125" y="114"/>
                    </a:moveTo>
                    <a:cubicBezTo>
                      <a:pt x="1213" y="114"/>
                      <a:pt x="1213" y="114"/>
                      <a:pt x="1213" y="114"/>
                    </a:cubicBezTo>
                    <a:cubicBezTo>
                      <a:pt x="1213" y="202"/>
                      <a:pt x="1213" y="202"/>
                      <a:pt x="1213" y="202"/>
                    </a:cubicBezTo>
                    <a:cubicBezTo>
                      <a:pt x="1125" y="202"/>
                      <a:pt x="1125" y="202"/>
                      <a:pt x="1125" y="202"/>
                    </a:cubicBezTo>
                    <a:cubicBezTo>
                      <a:pt x="1125" y="114"/>
                      <a:pt x="1125" y="114"/>
                      <a:pt x="1125" y="114"/>
                    </a:cubicBezTo>
                    <a:cubicBezTo>
                      <a:pt x="1125" y="114"/>
                      <a:pt x="1125" y="114"/>
                      <a:pt x="1125" y="114"/>
                    </a:cubicBezTo>
                    <a:close/>
                    <a:moveTo>
                      <a:pt x="1125" y="270"/>
                    </a:moveTo>
                    <a:cubicBezTo>
                      <a:pt x="1213" y="270"/>
                      <a:pt x="1213" y="270"/>
                      <a:pt x="1213" y="270"/>
                    </a:cubicBezTo>
                    <a:cubicBezTo>
                      <a:pt x="1213" y="358"/>
                      <a:pt x="1213" y="358"/>
                      <a:pt x="1213" y="358"/>
                    </a:cubicBezTo>
                    <a:cubicBezTo>
                      <a:pt x="1125" y="358"/>
                      <a:pt x="1125" y="358"/>
                      <a:pt x="1125" y="358"/>
                    </a:cubicBezTo>
                    <a:cubicBezTo>
                      <a:pt x="1125" y="270"/>
                      <a:pt x="1125" y="270"/>
                      <a:pt x="1125" y="270"/>
                    </a:cubicBezTo>
                    <a:cubicBezTo>
                      <a:pt x="1125" y="270"/>
                      <a:pt x="1125" y="270"/>
                      <a:pt x="1125" y="270"/>
                    </a:cubicBezTo>
                    <a:close/>
                    <a:moveTo>
                      <a:pt x="1125" y="419"/>
                    </a:moveTo>
                    <a:cubicBezTo>
                      <a:pt x="1213" y="419"/>
                      <a:pt x="1213" y="419"/>
                      <a:pt x="1213" y="419"/>
                    </a:cubicBezTo>
                    <a:cubicBezTo>
                      <a:pt x="1213" y="507"/>
                      <a:pt x="1213" y="507"/>
                      <a:pt x="1213" y="507"/>
                    </a:cubicBezTo>
                    <a:cubicBezTo>
                      <a:pt x="1125" y="507"/>
                      <a:pt x="1125" y="507"/>
                      <a:pt x="1125" y="507"/>
                    </a:cubicBezTo>
                    <a:cubicBezTo>
                      <a:pt x="1125" y="419"/>
                      <a:pt x="1125" y="419"/>
                      <a:pt x="1125" y="419"/>
                    </a:cubicBezTo>
                    <a:cubicBezTo>
                      <a:pt x="1125" y="419"/>
                      <a:pt x="1125" y="419"/>
                      <a:pt x="1125" y="419"/>
                    </a:cubicBezTo>
                    <a:close/>
                    <a:moveTo>
                      <a:pt x="959" y="114"/>
                    </a:moveTo>
                    <a:cubicBezTo>
                      <a:pt x="1050" y="114"/>
                      <a:pt x="1050" y="114"/>
                      <a:pt x="1050" y="114"/>
                    </a:cubicBezTo>
                    <a:cubicBezTo>
                      <a:pt x="1050" y="202"/>
                      <a:pt x="1050" y="202"/>
                      <a:pt x="1050" y="202"/>
                    </a:cubicBezTo>
                    <a:cubicBezTo>
                      <a:pt x="959" y="202"/>
                      <a:pt x="959" y="202"/>
                      <a:pt x="959" y="202"/>
                    </a:cubicBezTo>
                    <a:cubicBezTo>
                      <a:pt x="959" y="114"/>
                      <a:pt x="959" y="114"/>
                      <a:pt x="959" y="114"/>
                    </a:cubicBezTo>
                    <a:cubicBezTo>
                      <a:pt x="959" y="114"/>
                      <a:pt x="959" y="114"/>
                      <a:pt x="959" y="114"/>
                    </a:cubicBezTo>
                    <a:close/>
                    <a:moveTo>
                      <a:pt x="959" y="270"/>
                    </a:moveTo>
                    <a:cubicBezTo>
                      <a:pt x="1050" y="270"/>
                      <a:pt x="1050" y="270"/>
                      <a:pt x="1050" y="270"/>
                    </a:cubicBezTo>
                    <a:cubicBezTo>
                      <a:pt x="1050" y="358"/>
                      <a:pt x="1050" y="358"/>
                      <a:pt x="1050" y="358"/>
                    </a:cubicBezTo>
                    <a:cubicBezTo>
                      <a:pt x="959" y="358"/>
                      <a:pt x="959" y="358"/>
                      <a:pt x="959" y="358"/>
                    </a:cubicBezTo>
                    <a:cubicBezTo>
                      <a:pt x="959" y="270"/>
                      <a:pt x="959" y="270"/>
                      <a:pt x="959" y="270"/>
                    </a:cubicBezTo>
                    <a:cubicBezTo>
                      <a:pt x="959" y="270"/>
                      <a:pt x="959" y="270"/>
                      <a:pt x="959" y="270"/>
                    </a:cubicBezTo>
                    <a:close/>
                    <a:moveTo>
                      <a:pt x="959" y="419"/>
                    </a:moveTo>
                    <a:cubicBezTo>
                      <a:pt x="1050" y="419"/>
                      <a:pt x="1050" y="419"/>
                      <a:pt x="1050" y="419"/>
                    </a:cubicBezTo>
                    <a:cubicBezTo>
                      <a:pt x="1050" y="507"/>
                      <a:pt x="1050" y="507"/>
                      <a:pt x="1050" y="507"/>
                    </a:cubicBezTo>
                    <a:cubicBezTo>
                      <a:pt x="959" y="507"/>
                      <a:pt x="959" y="507"/>
                      <a:pt x="959" y="507"/>
                    </a:cubicBezTo>
                    <a:cubicBezTo>
                      <a:pt x="959" y="419"/>
                      <a:pt x="959" y="419"/>
                      <a:pt x="959" y="419"/>
                    </a:cubicBezTo>
                    <a:cubicBezTo>
                      <a:pt x="959" y="419"/>
                      <a:pt x="959" y="419"/>
                      <a:pt x="959" y="419"/>
                    </a:cubicBezTo>
                    <a:close/>
                    <a:moveTo>
                      <a:pt x="796" y="114"/>
                    </a:moveTo>
                    <a:cubicBezTo>
                      <a:pt x="886" y="114"/>
                      <a:pt x="886" y="114"/>
                      <a:pt x="886" y="114"/>
                    </a:cubicBezTo>
                    <a:cubicBezTo>
                      <a:pt x="886" y="202"/>
                      <a:pt x="886" y="202"/>
                      <a:pt x="886" y="202"/>
                    </a:cubicBezTo>
                    <a:cubicBezTo>
                      <a:pt x="796" y="202"/>
                      <a:pt x="796" y="202"/>
                      <a:pt x="796" y="202"/>
                    </a:cubicBezTo>
                    <a:cubicBezTo>
                      <a:pt x="796" y="114"/>
                      <a:pt x="796" y="114"/>
                      <a:pt x="796" y="114"/>
                    </a:cubicBezTo>
                    <a:cubicBezTo>
                      <a:pt x="796" y="114"/>
                      <a:pt x="796" y="114"/>
                      <a:pt x="796" y="114"/>
                    </a:cubicBezTo>
                    <a:close/>
                    <a:moveTo>
                      <a:pt x="796" y="270"/>
                    </a:moveTo>
                    <a:cubicBezTo>
                      <a:pt x="886" y="270"/>
                      <a:pt x="886" y="270"/>
                      <a:pt x="886" y="270"/>
                    </a:cubicBezTo>
                    <a:cubicBezTo>
                      <a:pt x="886" y="358"/>
                      <a:pt x="886" y="358"/>
                      <a:pt x="886" y="358"/>
                    </a:cubicBezTo>
                    <a:cubicBezTo>
                      <a:pt x="796" y="358"/>
                      <a:pt x="796" y="358"/>
                      <a:pt x="796" y="358"/>
                    </a:cubicBezTo>
                    <a:cubicBezTo>
                      <a:pt x="796" y="270"/>
                      <a:pt x="796" y="270"/>
                      <a:pt x="796" y="270"/>
                    </a:cubicBezTo>
                    <a:cubicBezTo>
                      <a:pt x="796" y="270"/>
                      <a:pt x="796" y="270"/>
                      <a:pt x="796" y="270"/>
                    </a:cubicBezTo>
                    <a:close/>
                    <a:moveTo>
                      <a:pt x="796" y="419"/>
                    </a:moveTo>
                    <a:cubicBezTo>
                      <a:pt x="886" y="419"/>
                      <a:pt x="886" y="419"/>
                      <a:pt x="886" y="419"/>
                    </a:cubicBezTo>
                    <a:cubicBezTo>
                      <a:pt x="886" y="507"/>
                      <a:pt x="886" y="507"/>
                      <a:pt x="886" y="507"/>
                    </a:cubicBezTo>
                    <a:cubicBezTo>
                      <a:pt x="796" y="507"/>
                      <a:pt x="796" y="507"/>
                      <a:pt x="796" y="507"/>
                    </a:cubicBezTo>
                    <a:cubicBezTo>
                      <a:pt x="796" y="419"/>
                      <a:pt x="796" y="419"/>
                      <a:pt x="796" y="419"/>
                    </a:cubicBezTo>
                    <a:cubicBezTo>
                      <a:pt x="796" y="419"/>
                      <a:pt x="796" y="419"/>
                      <a:pt x="796" y="419"/>
                    </a:cubicBezTo>
                    <a:close/>
                    <a:moveTo>
                      <a:pt x="633" y="114"/>
                    </a:moveTo>
                    <a:cubicBezTo>
                      <a:pt x="721" y="114"/>
                      <a:pt x="721" y="114"/>
                      <a:pt x="721" y="114"/>
                    </a:cubicBezTo>
                    <a:cubicBezTo>
                      <a:pt x="721" y="202"/>
                      <a:pt x="721" y="202"/>
                      <a:pt x="721" y="202"/>
                    </a:cubicBezTo>
                    <a:cubicBezTo>
                      <a:pt x="633" y="202"/>
                      <a:pt x="633" y="202"/>
                      <a:pt x="633" y="202"/>
                    </a:cubicBezTo>
                    <a:cubicBezTo>
                      <a:pt x="633" y="114"/>
                      <a:pt x="633" y="114"/>
                      <a:pt x="633" y="114"/>
                    </a:cubicBezTo>
                    <a:cubicBezTo>
                      <a:pt x="633" y="114"/>
                      <a:pt x="633" y="114"/>
                      <a:pt x="633" y="114"/>
                    </a:cubicBezTo>
                    <a:close/>
                    <a:moveTo>
                      <a:pt x="633" y="270"/>
                    </a:moveTo>
                    <a:cubicBezTo>
                      <a:pt x="721" y="270"/>
                      <a:pt x="721" y="270"/>
                      <a:pt x="721" y="270"/>
                    </a:cubicBezTo>
                    <a:cubicBezTo>
                      <a:pt x="721" y="358"/>
                      <a:pt x="721" y="358"/>
                      <a:pt x="721" y="358"/>
                    </a:cubicBezTo>
                    <a:cubicBezTo>
                      <a:pt x="633" y="358"/>
                      <a:pt x="633" y="358"/>
                      <a:pt x="633" y="358"/>
                    </a:cubicBezTo>
                    <a:cubicBezTo>
                      <a:pt x="633" y="270"/>
                      <a:pt x="633" y="270"/>
                      <a:pt x="633" y="270"/>
                    </a:cubicBezTo>
                    <a:cubicBezTo>
                      <a:pt x="633" y="270"/>
                      <a:pt x="633" y="270"/>
                      <a:pt x="633" y="270"/>
                    </a:cubicBezTo>
                    <a:close/>
                    <a:moveTo>
                      <a:pt x="633" y="419"/>
                    </a:moveTo>
                    <a:cubicBezTo>
                      <a:pt x="721" y="419"/>
                      <a:pt x="721" y="419"/>
                      <a:pt x="721" y="419"/>
                    </a:cubicBezTo>
                    <a:cubicBezTo>
                      <a:pt x="721" y="507"/>
                      <a:pt x="721" y="507"/>
                      <a:pt x="721" y="507"/>
                    </a:cubicBezTo>
                    <a:cubicBezTo>
                      <a:pt x="633" y="507"/>
                      <a:pt x="633" y="507"/>
                      <a:pt x="633" y="507"/>
                    </a:cubicBezTo>
                    <a:cubicBezTo>
                      <a:pt x="633" y="419"/>
                      <a:pt x="633" y="419"/>
                      <a:pt x="633" y="419"/>
                    </a:cubicBezTo>
                    <a:cubicBezTo>
                      <a:pt x="633" y="419"/>
                      <a:pt x="633" y="419"/>
                      <a:pt x="633" y="419"/>
                    </a:cubicBezTo>
                    <a:close/>
                    <a:moveTo>
                      <a:pt x="467" y="114"/>
                    </a:moveTo>
                    <a:cubicBezTo>
                      <a:pt x="556" y="114"/>
                      <a:pt x="556" y="114"/>
                      <a:pt x="556" y="114"/>
                    </a:cubicBezTo>
                    <a:cubicBezTo>
                      <a:pt x="556" y="202"/>
                      <a:pt x="556" y="202"/>
                      <a:pt x="556" y="202"/>
                    </a:cubicBezTo>
                    <a:cubicBezTo>
                      <a:pt x="467" y="202"/>
                      <a:pt x="467" y="202"/>
                      <a:pt x="467" y="202"/>
                    </a:cubicBezTo>
                    <a:cubicBezTo>
                      <a:pt x="467" y="114"/>
                      <a:pt x="467" y="114"/>
                      <a:pt x="467" y="114"/>
                    </a:cubicBezTo>
                    <a:cubicBezTo>
                      <a:pt x="467" y="114"/>
                      <a:pt x="467" y="114"/>
                      <a:pt x="467" y="114"/>
                    </a:cubicBezTo>
                    <a:close/>
                    <a:moveTo>
                      <a:pt x="467" y="270"/>
                    </a:moveTo>
                    <a:cubicBezTo>
                      <a:pt x="556" y="270"/>
                      <a:pt x="556" y="270"/>
                      <a:pt x="556" y="270"/>
                    </a:cubicBezTo>
                    <a:cubicBezTo>
                      <a:pt x="556" y="358"/>
                      <a:pt x="556" y="358"/>
                      <a:pt x="556" y="358"/>
                    </a:cubicBezTo>
                    <a:cubicBezTo>
                      <a:pt x="467" y="358"/>
                      <a:pt x="467" y="358"/>
                      <a:pt x="467" y="358"/>
                    </a:cubicBezTo>
                    <a:cubicBezTo>
                      <a:pt x="467" y="270"/>
                      <a:pt x="467" y="270"/>
                      <a:pt x="467" y="270"/>
                    </a:cubicBezTo>
                    <a:cubicBezTo>
                      <a:pt x="467" y="270"/>
                      <a:pt x="467" y="270"/>
                      <a:pt x="467" y="270"/>
                    </a:cubicBezTo>
                    <a:close/>
                    <a:moveTo>
                      <a:pt x="467" y="419"/>
                    </a:moveTo>
                    <a:cubicBezTo>
                      <a:pt x="556" y="419"/>
                      <a:pt x="556" y="419"/>
                      <a:pt x="556" y="419"/>
                    </a:cubicBezTo>
                    <a:cubicBezTo>
                      <a:pt x="556" y="507"/>
                      <a:pt x="556" y="507"/>
                      <a:pt x="556" y="507"/>
                    </a:cubicBezTo>
                    <a:cubicBezTo>
                      <a:pt x="467" y="507"/>
                      <a:pt x="467" y="507"/>
                      <a:pt x="467" y="507"/>
                    </a:cubicBezTo>
                    <a:cubicBezTo>
                      <a:pt x="467" y="419"/>
                      <a:pt x="467" y="419"/>
                      <a:pt x="467" y="419"/>
                    </a:cubicBezTo>
                    <a:cubicBezTo>
                      <a:pt x="467" y="419"/>
                      <a:pt x="467" y="419"/>
                      <a:pt x="467" y="419"/>
                    </a:cubicBezTo>
                    <a:close/>
                    <a:moveTo>
                      <a:pt x="302" y="114"/>
                    </a:moveTo>
                    <a:cubicBezTo>
                      <a:pt x="392" y="114"/>
                      <a:pt x="392" y="114"/>
                      <a:pt x="392" y="114"/>
                    </a:cubicBezTo>
                    <a:cubicBezTo>
                      <a:pt x="392" y="202"/>
                      <a:pt x="392" y="202"/>
                      <a:pt x="392" y="202"/>
                    </a:cubicBezTo>
                    <a:cubicBezTo>
                      <a:pt x="302" y="202"/>
                      <a:pt x="302" y="202"/>
                      <a:pt x="302" y="202"/>
                    </a:cubicBezTo>
                    <a:cubicBezTo>
                      <a:pt x="302" y="114"/>
                      <a:pt x="302" y="114"/>
                      <a:pt x="302" y="114"/>
                    </a:cubicBezTo>
                    <a:cubicBezTo>
                      <a:pt x="302" y="114"/>
                      <a:pt x="302" y="114"/>
                      <a:pt x="302" y="114"/>
                    </a:cubicBezTo>
                    <a:close/>
                    <a:moveTo>
                      <a:pt x="302" y="270"/>
                    </a:moveTo>
                    <a:cubicBezTo>
                      <a:pt x="392" y="270"/>
                      <a:pt x="392" y="270"/>
                      <a:pt x="392" y="270"/>
                    </a:cubicBezTo>
                    <a:cubicBezTo>
                      <a:pt x="392" y="358"/>
                      <a:pt x="392" y="358"/>
                      <a:pt x="392" y="358"/>
                    </a:cubicBezTo>
                    <a:cubicBezTo>
                      <a:pt x="302" y="358"/>
                      <a:pt x="302" y="358"/>
                      <a:pt x="302" y="358"/>
                    </a:cubicBezTo>
                    <a:cubicBezTo>
                      <a:pt x="302" y="270"/>
                      <a:pt x="302" y="270"/>
                      <a:pt x="302" y="270"/>
                    </a:cubicBezTo>
                    <a:cubicBezTo>
                      <a:pt x="302" y="270"/>
                      <a:pt x="302" y="270"/>
                      <a:pt x="302" y="270"/>
                    </a:cubicBezTo>
                    <a:close/>
                    <a:moveTo>
                      <a:pt x="302" y="419"/>
                    </a:moveTo>
                    <a:cubicBezTo>
                      <a:pt x="392" y="419"/>
                      <a:pt x="392" y="419"/>
                      <a:pt x="392" y="419"/>
                    </a:cubicBezTo>
                    <a:cubicBezTo>
                      <a:pt x="392" y="507"/>
                      <a:pt x="392" y="507"/>
                      <a:pt x="392" y="507"/>
                    </a:cubicBezTo>
                    <a:cubicBezTo>
                      <a:pt x="302" y="507"/>
                      <a:pt x="302" y="507"/>
                      <a:pt x="302" y="507"/>
                    </a:cubicBezTo>
                    <a:cubicBezTo>
                      <a:pt x="302" y="419"/>
                      <a:pt x="302" y="419"/>
                      <a:pt x="302" y="419"/>
                    </a:cubicBezTo>
                    <a:cubicBezTo>
                      <a:pt x="302" y="419"/>
                      <a:pt x="302" y="419"/>
                      <a:pt x="302" y="419"/>
                    </a:cubicBezTo>
                    <a:close/>
                    <a:moveTo>
                      <a:pt x="139" y="114"/>
                    </a:moveTo>
                    <a:cubicBezTo>
                      <a:pt x="227" y="114"/>
                      <a:pt x="227" y="114"/>
                      <a:pt x="227" y="114"/>
                    </a:cubicBezTo>
                    <a:cubicBezTo>
                      <a:pt x="227" y="202"/>
                      <a:pt x="227" y="202"/>
                      <a:pt x="227" y="202"/>
                    </a:cubicBezTo>
                    <a:cubicBezTo>
                      <a:pt x="139" y="202"/>
                      <a:pt x="139" y="202"/>
                      <a:pt x="139" y="202"/>
                    </a:cubicBezTo>
                    <a:cubicBezTo>
                      <a:pt x="139" y="114"/>
                      <a:pt x="139" y="114"/>
                      <a:pt x="139" y="114"/>
                    </a:cubicBezTo>
                    <a:cubicBezTo>
                      <a:pt x="139" y="114"/>
                      <a:pt x="139" y="114"/>
                      <a:pt x="139" y="114"/>
                    </a:cubicBezTo>
                    <a:close/>
                    <a:moveTo>
                      <a:pt x="139" y="270"/>
                    </a:moveTo>
                    <a:cubicBezTo>
                      <a:pt x="227" y="270"/>
                      <a:pt x="227" y="270"/>
                      <a:pt x="227" y="270"/>
                    </a:cubicBezTo>
                    <a:cubicBezTo>
                      <a:pt x="227" y="358"/>
                      <a:pt x="227" y="358"/>
                      <a:pt x="227" y="358"/>
                    </a:cubicBezTo>
                    <a:cubicBezTo>
                      <a:pt x="139" y="358"/>
                      <a:pt x="139" y="358"/>
                      <a:pt x="139" y="358"/>
                    </a:cubicBezTo>
                    <a:cubicBezTo>
                      <a:pt x="139" y="270"/>
                      <a:pt x="139" y="270"/>
                      <a:pt x="139" y="270"/>
                    </a:cubicBezTo>
                    <a:cubicBezTo>
                      <a:pt x="139" y="270"/>
                      <a:pt x="139" y="270"/>
                      <a:pt x="139" y="270"/>
                    </a:cubicBezTo>
                    <a:close/>
                    <a:moveTo>
                      <a:pt x="139" y="419"/>
                    </a:moveTo>
                    <a:cubicBezTo>
                      <a:pt x="227" y="419"/>
                      <a:pt x="227" y="419"/>
                      <a:pt x="227" y="419"/>
                    </a:cubicBezTo>
                    <a:cubicBezTo>
                      <a:pt x="227" y="507"/>
                      <a:pt x="227" y="507"/>
                      <a:pt x="227" y="507"/>
                    </a:cubicBezTo>
                    <a:cubicBezTo>
                      <a:pt x="139" y="507"/>
                      <a:pt x="139" y="507"/>
                      <a:pt x="139" y="507"/>
                    </a:cubicBezTo>
                    <a:cubicBezTo>
                      <a:pt x="139" y="419"/>
                      <a:pt x="139" y="419"/>
                      <a:pt x="139" y="419"/>
                    </a:cubicBezTo>
                    <a:cubicBezTo>
                      <a:pt x="139" y="419"/>
                      <a:pt x="139" y="419"/>
                      <a:pt x="139" y="419"/>
                    </a:cubicBezTo>
                    <a:close/>
                  </a:path>
                </a:pathLst>
              </a:custGeom>
              <a:solidFill>
                <a:srgbClr val="59595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294"/>
                <a:endParaRPr lang="en-US" sz="14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7314120" y="2390457"/>
              <a:ext cx="426962" cy="118281"/>
              <a:chOff x="8924116" y="3944007"/>
              <a:chExt cx="899334" cy="249208"/>
            </a:xfrm>
          </p:grpSpPr>
          <p:sp>
            <p:nvSpPr>
              <p:cNvPr id="35" name="Rectangle 34"/>
              <p:cNvSpPr/>
              <p:nvPr/>
            </p:nvSpPr>
            <p:spPr bwMode="auto">
              <a:xfrm>
                <a:off x="8963025" y="3976688"/>
                <a:ext cx="802481" cy="19288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51429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6" name="Freeform 6"/>
              <p:cNvSpPr>
                <a:spLocks noEditPoints="1"/>
              </p:cNvSpPr>
              <p:nvPr/>
            </p:nvSpPr>
            <p:spPr bwMode="auto">
              <a:xfrm>
                <a:off x="8924116" y="3944007"/>
                <a:ext cx="899334" cy="249208"/>
              </a:xfrm>
              <a:custGeom>
                <a:avLst/>
                <a:gdLst>
                  <a:gd name="T0" fmla="*/ 2234 w 2234"/>
                  <a:gd name="T1" fmla="*/ 479 h 619"/>
                  <a:gd name="T2" fmla="*/ 143 w 2234"/>
                  <a:gd name="T3" fmla="*/ 0 h 619"/>
                  <a:gd name="T4" fmla="*/ 143 w 2234"/>
                  <a:gd name="T5" fmla="*/ 619 h 619"/>
                  <a:gd name="T6" fmla="*/ 1927 w 2234"/>
                  <a:gd name="T7" fmla="*/ 422 h 619"/>
                  <a:gd name="T8" fmla="*/ 1125 w 2234"/>
                  <a:gd name="T9" fmla="*/ 114 h 619"/>
                  <a:gd name="T10" fmla="*/ 1125 w 2234"/>
                  <a:gd name="T11" fmla="*/ 202 h 619"/>
                  <a:gd name="T12" fmla="*/ 1125 w 2234"/>
                  <a:gd name="T13" fmla="*/ 270 h 619"/>
                  <a:gd name="T14" fmla="*/ 1125 w 2234"/>
                  <a:gd name="T15" fmla="*/ 358 h 619"/>
                  <a:gd name="T16" fmla="*/ 1125 w 2234"/>
                  <a:gd name="T17" fmla="*/ 419 h 619"/>
                  <a:gd name="T18" fmla="*/ 1125 w 2234"/>
                  <a:gd name="T19" fmla="*/ 507 h 619"/>
                  <a:gd name="T20" fmla="*/ 959 w 2234"/>
                  <a:gd name="T21" fmla="*/ 114 h 619"/>
                  <a:gd name="T22" fmla="*/ 959 w 2234"/>
                  <a:gd name="T23" fmla="*/ 202 h 619"/>
                  <a:gd name="T24" fmla="*/ 959 w 2234"/>
                  <a:gd name="T25" fmla="*/ 270 h 619"/>
                  <a:gd name="T26" fmla="*/ 959 w 2234"/>
                  <a:gd name="T27" fmla="*/ 358 h 619"/>
                  <a:gd name="T28" fmla="*/ 959 w 2234"/>
                  <a:gd name="T29" fmla="*/ 419 h 619"/>
                  <a:gd name="T30" fmla="*/ 959 w 2234"/>
                  <a:gd name="T31" fmla="*/ 507 h 619"/>
                  <a:gd name="T32" fmla="*/ 796 w 2234"/>
                  <a:gd name="T33" fmla="*/ 114 h 619"/>
                  <a:gd name="T34" fmla="*/ 796 w 2234"/>
                  <a:gd name="T35" fmla="*/ 202 h 619"/>
                  <a:gd name="T36" fmla="*/ 796 w 2234"/>
                  <a:gd name="T37" fmla="*/ 270 h 619"/>
                  <a:gd name="T38" fmla="*/ 796 w 2234"/>
                  <a:gd name="T39" fmla="*/ 358 h 619"/>
                  <a:gd name="T40" fmla="*/ 796 w 2234"/>
                  <a:gd name="T41" fmla="*/ 419 h 619"/>
                  <a:gd name="T42" fmla="*/ 796 w 2234"/>
                  <a:gd name="T43" fmla="*/ 507 h 619"/>
                  <a:gd name="T44" fmla="*/ 633 w 2234"/>
                  <a:gd name="T45" fmla="*/ 114 h 619"/>
                  <a:gd name="T46" fmla="*/ 633 w 2234"/>
                  <a:gd name="T47" fmla="*/ 202 h 619"/>
                  <a:gd name="T48" fmla="*/ 633 w 2234"/>
                  <a:gd name="T49" fmla="*/ 270 h 619"/>
                  <a:gd name="T50" fmla="*/ 633 w 2234"/>
                  <a:gd name="T51" fmla="*/ 358 h 619"/>
                  <a:gd name="T52" fmla="*/ 633 w 2234"/>
                  <a:gd name="T53" fmla="*/ 419 h 619"/>
                  <a:gd name="T54" fmla="*/ 633 w 2234"/>
                  <a:gd name="T55" fmla="*/ 507 h 619"/>
                  <a:gd name="T56" fmla="*/ 467 w 2234"/>
                  <a:gd name="T57" fmla="*/ 114 h 619"/>
                  <a:gd name="T58" fmla="*/ 467 w 2234"/>
                  <a:gd name="T59" fmla="*/ 202 h 619"/>
                  <a:gd name="T60" fmla="*/ 467 w 2234"/>
                  <a:gd name="T61" fmla="*/ 270 h 619"/>
                  <a:gd name="T62" fmla="*/ 467 w 2234"/>
                  <a:gd name="T63" fmla="*/ 358 h 619"/>
                  <a:gd name="T64" fmla="*/ 467 w 2234"/>
                  <a:gd name="T65" fmla="*/ 419 h 619"/>
                  <a:gd name="T66" fmla="*/ 467 w 2234"/>
                  <a:gd name="T67" fmla="*/ 507 h 619"/>
                  <a:gd name="T68" fmla="*/ 302 w 2234"/>
                  <a:gd name="T69" fmla="*/ 114 h 619"/>
                  <a:gd name="T70" fmla="*/ 302 w 2234"/>
                  <a:gd name="T71" fmla="*/ 202 h 619"/>
                  <a:gd name="T72" fmla="*/ 302 w 2234"/>
                  <a:gd name="T73" fmla="*/ 270 h 619"/>
                  <a:gd name="T74" fmla="*/ 302 w 2234"/>
                  <a:gd name="T75" fmla="*/ 358 h 619"/>
                  <a:gd name="T76" fmla="*/ 302 w 2234"/>
                  <a:gd name="T77" fmla="*/ 419 h 619"/>
                  <a:gd name="T78" fmla="*/ 302 w 2234"/>
                  <a:gd name="T79" fmla="*/ 507 h 619"/>
                  <a:gd name="T80" fmla="*/ 139 w 2234"/>
                  <a:gd name="T81" fmla="*/ 114 h 619"/>
                  <a:gd name="T82" fmla="*/ 139 w 2234"/>
                  <a:gd name="T83" fmla="*/ 202 h 619"/>
                  <a:gd name="T84" fmla="*/ 139 w 2234"/>
                  <a:gd name="T85" fmla="*/ 270 h 619"/>
                  <a:gd name="T86" fmla="*/ 139 w 2234"/>
                  <a:gd name="T87" fmla="*/ 358 h 619"/>
                  <a:gd name="T88" fmla="*/ 139 w 2234"/>
                  <a:gd name="T89" fmla="*/ 419 h 619"/>
                  <a:gd name="T90" fmla="*/ 139 w 2234"/>
                  <a:gd name="T91" fmla="*/ 507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34" h="619">
                    <a:moveTo>
                      <a:pt x="143" y="619"/>
                    </a:moveTo>
                    <a:cubicBezTo>
                      <a:pt x="2091" y="619"/>
                      <a:pt x="2091" y="619"/>
                      <a:pt x="2091" y="619"/>
                    </a:cubicBezTo>
                    <a:cubicBezTo>
                      <a:pt x="2170" y="619"/>
                      <a:pt x="2234" y="558"/>
                      <a:pt x="2234" y="479"/>
                    </a:cubicBezTo>
                    <a:cubicBezTo>
                      <a:pt x="2234" y="143"/>
                      <a:pt x="2234" y="143"/>
                      <a:pt x="2234" y="143"/>
                    </a:cubicBezTo>
                    <a:cubicBezTo>
                      <a:pt x="2234" y="64"/>
                      <a:pt x="2170" y="0"/>
                      <a:pt x="2091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64" y="0"/>
                      <a:pt x="0" y="64"/>
                      <a:pt x="0" y="143"/>
                    </a:cubicBezTo>
                    <a:cubicBezTo>
                      <a:pt x="0" y="479"/>
                      <a:pt x="0" y="479"/>
                      <a:pt x="0" y="479"/>
                    </a:cubicBezTo>
                    <a:cubicBezTo>
                      <a:pt x="0" y="558"/>
                      <a:pt x="64" y="619"/>
                      <a:pt x="143" y="619"/>
                    </a:cubicBezTo>
                    <a:close/>
                    <a:moveTo>
                      <a:pt x="1927" y="198"/>
                    </a:moveTo>
                    <a:cubicBezTo>
                      <a:pt x="1989" y="198"/>
                      <a:pt x="2040" y="248"/>
                      <a:pt x="2040" y="310"/>
                    </a:cubicBezTo>
                    <a:cubicBezTo>
                      <a:pt x="2040" y="373"/>
                      <a:pt x="1989" y="422"/>
                      <a:pt x="1927" y="422"/>
                    </a:cubicBezTo>
                    <a:cubicBezTo>
                      <a:pt x="1866" y="422"/>
                      <a:pt x="1815" y="373"/>
                      <a:pt x="1815" y="310"/>
                    </a:cubicBezTo>
                    <a:cubicBezTo>
                      <a:pt x="1815" y="248"/>
                      <a:pt x="1866" y="198"/>
                      <a:pt x="1927" y="198"/>
                    </a:cubicBezTo>
                    <a:close/>
                    <a:moveTo>
                      <a:pt x="1125" y="114"/>
                    </a:moveTo>
                    <a:cubicBezTo>
                      <a:pt x="1213" y="114"/>
                      <a:pt x="1213" y="114"/>
                      <a:pt x="1213" y="114"/>
                    </a:cubicBezTo>
                    <a:cubicBezTo>
                      <a:pt x="1213" y="202"/>
                      <a:pt x="1213" y="202"/>
                      <a:pt x="1213" y="202"/>
                    </a:cubicBezTo>
                    <a:cubicBezTo>
                      <a:pt x="1125" y="202"/>
                      <a:pt x="1125" y="202"/>
                      <a:pt x="1125" y="202"/>
                    </a:cubicBezTo>
                    <a:cubicBezTo>
                      <a:pt x="1125" y="114"/>
                      <a:pt x="1125" y="114"/>
                      <a:pt x="1125" y="114"/>
                    </a:cubicBezTo>
                    <a:cubicBezTo>
                      <a:pt x="1125" y="114"/>
                      <a:pt x="1125" y="114"/>
                      <a:pt x="1125" y="114"/>
                    </a:cubicBezTo>
                    <a:close/>
                    <a:moveTo>
                      <a:pt x="1125" y="270"/>
                    </a:moveTo>
                    <a:cubicBezTo>
                      <a:pt x="1213" y="270"/>
                      <a:pt x="1213" y="270"/>
                      <a:pt x="1213" y="270"/>
                    </a:cubicBezTo>
                    <a:cubicBezTo>
                      <a:pt x="1213" y="358"/>
                      <a:pt x="1213" y="358"/>
                      <a:pt x="1213" y="358"/>
                    </a:cubicBezTo>
                    <a:cubicBezTo>
                      <a:pt x="1125" y="358"/>
                      <a:pt x="1125" y="358"/>
                      <a:pt x="1125" y="358"/>
                    </a:cubicBezTo>
                    <a:cubicBezTo>
                      <a:pt x="1125" y="270"/>
                      <a:pt x="1125" y="270"/>
                      <a:pt x="1125" y="270"/>
                    </a:cubicBezTo>
                    <a:cubicBezTo>
                      <a:pt x="1125" y="270"/>
                      <a:pt x="1125" y="270"/>
                      <a:pt x="1125" y="270"/>
                    </a:cubicBezTo>
                    <a:close/>
                    <a:moveTo>
                      <a:pt x="1125" y="419"/>
                    </a:moveTo>
                    <a:cubicBezTo>
                      <a:pt x="1213" y="419"/>
                      <a:pt x="1213" y="419"/>
                      <a:pt x="1213" y="419"/>
                    </a:cubicBezTo>
                    <a:cubicBezTo>
                      <a:pt x="1213" y="507"/>
                      <a:pt x="1213" y="507"/>
                      <a:pt x="1213" y="507"/>
                    </a:cubicBezTo>
                    <a:cubicBezTo>
                      <a:pt x="1125" y="507"/>
                      <a:pt x="1125" y="507"/>
                      <a:pt x="1125" y="507"/>
                    </a:cubicBezTo>
                    <a:cubicBezTo>
                      <a:pt x="1125" y="419"/>
                      <a:pt x="1125" y="419"/>
                      <a:pt x="1125" y="419"/>
                    </a:cubicBezTo>
                    <a:cubicBezTo>
                      <a:pt x="1125" y="419"/>
                      <a:pt x="1125" y="419"/>
                      <a:pt x="1125" y="419"/>
                    </a:cubicBezTo>
                    <a:close/>
                    <a:moveTo>
                      <a:pt x="959" y="114"/>
                    </a:moveTo>
                    <a:cubicBezTo>
                      <a:pt x="1050" y="114"/>
                      <a:pt x="1050" y="114"/>
                      <a:pt x="1050" y="114"/>
                    </a:cubicBezTo>
                    <a:cubicBezTo>
                      <a:pt x="1050" y="202"/>
                      <a:pt x="1050" y="202"/>
                      <a:pt x="1050" y="202"/>
                    </a:cubicBezTo>
                    <a:cubicBezTo>
                      <a:pt x="959" y="202"/>
                      <a:pt x="959" y="202"/>
                      <a:pt x="959" y="202"/>
                    </a:cubicBezTo>
                    <a:cubicBezTo>
                      <a:pt x="959" y="114"/>
                      <a:pt x="959" y="114"/>
                      <a:pt x="959" y="114"/>
                    </a:cubicBezTo>
                    <a:cubicBezTo>
                      <a:pt x="959" y="114"/>
                      <a:pt x="959" y="114"/>
                      <a:pt x="959" y="114"/>
                    </a:cubicBezTo>
                    <a:close/>
                    <a:moveTo>
                      <a:pt x="959" y="270"/>
                    </a:moveTo>
                    <a:cubicBezTo>
                      <a:pt x="1050" y="270"/>
                      <a:pt x="1050" y="270"/>
                      <a:pt x="1050" y="270"/>
                    </a:cubicBezTo>
                    <a:cubicBezTo>
                      <a:pt x="1050" y="358"/>
                      <a:pt x="1050" y="358"/>
                      <a:pt x="1050" y="358"/>
                    </a:cubicBezTo>
                    <a:cubicBezTo>
                      <a:pt x="959" y="358"/>
                      <a:pt x="959" y="358"/>
                      <a:pt x="959" y="358"/>
                    </a:cubicBezTo>
                    <a:cubicBezTo>
                      <a:pt x="959" y="270"/>
                      <a:pt x="959" y="270"/>
                      <a:pt x="959" y="270"/>
                    </a:cubicBezTo>
                    <a:cubicBezTo>
                      <a:pt x="959" y="270"/>
                      <a:pt x="959" y="270"/>
                      <a:pt x="959" y="270"/>
                    </a:cubicBezTo>
                    <a:close/>
                    <a:moveTo>
                      <a:pt x="959" y="419"/>
                    </a:moveTo>
                    <a:cubicBezTo>
                      <a:pt x="1050" y="419"/>
                      <a:pt x="1050" y="419"/>
                      <a:pt x="1050" y="419"/>
                    </a:cubicBezTo>
                    <a:cubicBezTo>
                      <a:pt x="1050" y="507"/>
                      <a:pt x="1050" y="507"/>
                      <a:pt x="1050" y="507"/>
                    </a:cubicBezTo>
                    <a:cubicBezTo>
                      <a:pt x="959" y="507"/>
                      <a:pt x="959" y="507"/>
                      <a:pt x="959" y="507"/>
                    </a:cubicBezTo>
                    <a:cubicBezTo>
                      <a:pt x="959" y="419"/>
                      <a:pt x="959" y="419"/>
                      <a:pt x="959" y="419"/>
                    </a:cubicBezTo>
                    <a:cubicBezTo>
                      <a:pt x="959" y="419"/>
                      <a:pt x="959" y="419"/>
                      <a:pt x="959" y="419"/>
                    </a:cubicBezTo>
                    <a:close/>
                    <a:moveTo>
                      <a:pt x="796" y="114"/>
                    </a:moveTo>
                    <a:cubicBezTo>
                      <a:pt x="886" y="114"/>
                      <a:pt x="886" y="114"/>
                      <a:pt x="886" y="114"/>
                    </a:cubicBezTo>
                    <a:cubicBezTo>
                      <a:pt x="886" y="202"/>
                      <a:pt x="886" y="202"/>
                      <a:pt x="886" y="202"/>
                    </a:cubicBezTo>
                    <a:cubicBezTo>
                      <a:pt x="796" y="202"/>
                      <a:pt x="796" y="202"/>
                      <a:pt x="796" y="202"/>
                    </a:cubicBezTo>
                    <a:cubicBezTo>
                      <a:pt x="796" y="114"/>
                      <a:pt x="796" y="114"/>
                      <a:pt x="796" y="114"/>
                    </a:cubicBezTo>
                    <a:cubicBezTo>
                      <a:pt x="796" y="114"/>
                      <a:pt x="796" y="114"/>
                      <a:pt x="796" y="114"/>
                    </a:cubicBezTo>
                    <a:close/>
                    <a:moveTo>
                      <a:pt x="796" y="270"/>
                    </a:moveTo>
                    <a:cubicBezTo>
                      <a:pt x="886" y="270"/>
                      <a:pt x="886" y="270"/>
                      <a:pt x="886" y="270"/>
                    </a:cubicBezTo>
                    <a:cubicBezTo>
                      <a:pt x="886" y="358"/>
                      <a:pt x="886" y="358"/>
                      <a:pt x="886" y="358"/>
                    </a:cubicBezTo>
                    <a:cubicBezTo>
                      <a:pt x="796" y="358"/>
                      <a:pt x="796" y="358"/>
                      <a:pt x="796" y="358"/>
                    </a:cubicBezTo>
                    <a:cubicBezTo>
                      <a:pt x="796" y="270"/>
                      <a:pt x="796" y="270"/>
                      <a:pt x="796" y="270"/>
                    </a:cubicBezTo>
                    <a:cubicBezTo>
                      <a:pt x="796" y="270"/>
                      <a:pt x="796" y="270"/>
                      <a:pt x="796" y="270"/>
                    </a:cubicBezTo>
                    <a:close/>
                    <a:moveTo>
                      <a:pt x="796" y="419"/>
                    </a:moveTo>
                    <a:cubicBezTo>
                      <a:pt x="886" y="419"/>
                      <a:pt x="886" y="419"/>
                      <a:pt x="886" y="419"/>
                    </a:cubicBezTo>
                    <a:cubicBezTo>
                      <a:pt x="886" y="507"/>
                      <a:pt x="886" y="507"/>
                      <a:pt x="886" y="507"/>
                    </a:cubicBezTo>
                    <a:cubicBezTo>
                      <a:pt x="796" y="507"/>
                      <a:pt x="796" y="507"/>
                      <a:pt x="796" y="507"/>
                    </a:cubicBezTo>
                    <a:cubicBezTo>
                      <a:pt x="796" y="419"/>
                      <a:pt x="796" y="419"/>
                      <a:pt x="796" y="419"/>
                    </a:cubicBezTo>
                    <a:cubicBezTo>
                      <a:pt x="796" y="419"/>
                      <a:pt x="796" y="419"/>
                      <a:pt x="796" y="419"/>
                    </a:cubicBezTo>
                    <a:close/>
                    <a:moveTo>
                      <a:pt x="633" y="114"/>
                    </a:moveTo>
                    <a:cubicBezTo>
                      <a:pt x="721" y="114"/>
                      <a:pt x="721" y="114"/>
                      <a:pt x="721" y="114"/>
                    </a:cubicBezTo>
                    <a:cubicBezTo>
                      <a:pt x="721" y="202"/>
                      <a:pt x="721" y="202"/>
                      <a:pt x="721" y="202"/>
                    </a:cubicBezTo>
                    <a:cubicBezTo>
                      <a:pt x="633" y="202"/>
                      <a:pt x="633" y="202"/>
                      <a:pt x="633" y="202"/>
                    </a:cubicBezTo>
                    <a:cubicBezTo>
                      <a:pt x="633" y="114"/>
                      <a:pt x="633" y="114"/>
                      <a:pt x="633" y="114"/>
                    </a:cubicBezTo>
                    <a:cubicBezTo>
                      <a:pt x="633" y="114"/>
                      <a:pt x="633" y="114"/>
                      <a:pt x="633" y="114"/>
                    </a:cubicBezTo>
                    <a:close/>
                    <a:moveTo>
                      <a:pt x="633" y="270"/>
                    </a:moveTo>
                    <a:cubicBezTo>
                      <a:pt x="721" y="270"/>
                      <a:pt x="721" y="270"/>
                      <a:pt x="721" y="270"/>
                    </a:cubicBezTo>
                    <a:cubicBezTo>
                      <a:pt x="721" y="358"/>
                      <a:pt x="721" y="358"/>
                      <a:pt x="721" y="358"/>
                    </a:cubicBezTo>
                    <a:cubicBezTo>
                      <a:pt x="633" y="358"/>
                      <a:pt x="633" y="358"/>
                      <a:pt x="633" y="358"/>
                    </a:cubicBezTo>
                    <a:cubicBezTo>
                      <a:pt x="633" y="270"/>
                      <a:pt x="633" y="270"/>
                      <a:pt x="633" y="270"/>
                    </a:cubicBezTo>
                    <a:cubicBezTo>
                      <a:pt x="633" y="270"/>
                      <a:pt x="633" y="270"/>
                      <a:pt x="633" y="270"/>
                    </a:cubicBezTo>
                    <a:close/>
                    <a:moveTo>
                      <a:pt x="633" y="419"/>
                    </a:moveTo>
                    <a:cubicBezTo>
                      <a:pt x="721" y="419"/>
                      <a:pt x="721" y="419"/>
                      <a:pt x="721" y="419"/>
                    </a:cubicBezTo>
                    <a:cubicBezTo>
                      <a:pt x="721" y="507"/>
                      <a:pt x="721" y="507"/>
                      <a:pt x="721" y="507"/>
                    </a:cubicBezTo>
                    <a:cubicBezTo>
                      <a:pt x="633" y="507"/>
                      <a:pt x="633" y="507"/>
                      <a:pt x="633" y="507"/>
                    </a:cubicBezTo>
                    <a:cubicBezTo>
                      <a:pt x="633" y="419"/>
                      <a:pt x="633" y="419"/>
                      <a:pt x="633" y="419"/>
                    </a:cubicBezTo>
                    <a:cubicBezTo>
                      <a:pt x="633" y="419"/>
                      <a:pt x="633" y="419"/>
                      <a:pt x="633" y="419"/>
                    </a:cubicBezTo>
                    <a:close/>
                    <a:moveTo>
                      <a:pt x="467" y="114"/>
                    </a:moveTo>
                    <a:cubicBezTo>
                      <a:pt x="556" y="114"/>
                      <a:pt x="556" y="114"/>
                      <a:pt x="556" y="114"/>
                    </a:cubicBezTo>
                    <a:cubicBezTo>
                      <a:pt x="556" y="202"/>
                      <a:pt x="556" y="202"/>
                      <a:pt x="556" y="202"/>
                    </a:cubicBezTo>
                    <a:cubicBezTo>
                      <a:pt x="467" y="202"/>
                      <a:pt x="467" y="202"/>
                      <a:pt x="467" y="202"/>
                    </a:cubicBezTo>
                    <a:cubicBezTo>
                      <a:pt x="467" y="114"/>
                      <a:pt x="467" y="114"/>
                      <a:pt x="467" y="114"/>
                    </a:cubicBezTo>
                    <a:cubicBezTo>
                      <a:pt x="467" y="114"/>
                      <a:pt x="467" y="114"/>
                      <a:pt x="467" y="114"/>
                    </a:cubicBezTo>
                    <a:close/>
                    <a:moveTo>
                      <a:pt x="467" y="270"/>
                    </a:moveTo>
                    <a:cubicBezTo>
                      <a:pt x="556" y="270"/>
                      <a:pt x="556" y="270"/>
                      <a:pt x="556" y="270"/>
                    </a:cubicBezTo>
                    <a:cubicBezTo>
                      <a:pt x="556" y="358"/>
                      <a:pt x="556" y="358"/>
                      <a:pt x="556" y="358"/>
                    </a:cubicBezTo>
                    <a:cubicBezTo>
                      <a:pt x="467" y="358"/>
                      <a:pt x="467" y="358"/>
                      <a:pt x="467" y="358"/>
                    </a:cubicBezTo>
                    <a:cubicBezTo>
                      <a:pt x="467" y="270"/>
                      <a:pt x="467" y="270"/>
                      <a:pt x="467" y="270"/>
                    </a:cubicBezTo>
                    <a:cubicBezTo>
                      <a:pt x="467" y="270"/>
                      <a:pt x="467" y="270"/>
                      <a:pt x="467" y="270"/>
                    </a:cubicBezTo>
                    <a:close/>
                    <a:moveTo>
                      <a:pt x="467" y="419"/>
                    </a:moveTo>
                    <a:cubicBezTo>
                      <a:pt x="556" y="419"/>
                      <a:pt x="556" y="419"/>
                      <a:pt x="556" y="419"/>
                    </a:cubicBezTo>
                    <a:cubicBezTo>
                      <a:pt x="556" y="507"/>
                      <a:pt x="556" y="507"/>
                      <a:pt x="556" y="507"/>
                    </a:cubicBezTo>
                    <a:cubicBezTo>
                      <a:pt x="467" y="507"/>
                      <a:pt x="467" y="507"/>
                      <a:pt x="467" y="507"/>
                    </a:cubicBezTo>
                    <a:cubicBezTo>
                      <a:pt x="467" y="419"/>
                      <a:pt x="467" y="419"/>
                      <a:pt x="467" y="419"/>
                    </a:cubicBezTo>
                    <a:cubicBezTo>
                      <a:pt x="467" y="419"/>
                      <a:pt x="467" y="419"/>
                      <a:pt x="467" y="419"/>
                    </a:cubicBezTo>
                    <a:close/>
                    <a:moveTo>
                      <a:pt x="302" y="114"/>
                    </a:moveTo>
                    <a:cubicBezTo>
                      <a:pt x="392" y="114"/>
                      <a:pt x="392" y="114"/>
                      <a:pt x="392" y="114"/>
                    </a:cubicBezTo>
                    <a:cubicBezTo>
                      <a:pt x="392" y="202"/>
                      <a:pt x="392" y="202"/>
                      <a:pt x="392" y="202"/>
                    </a:cubicBezTo>
                    <a:cubicBezTo>
                      <a:pt x="302" y="202"/>
                      <a:pt x="302" y="202"/>
                      <a:pt x="302" y="202"/>
                    </a:cubicBezTo>
                    <a:cubicBezTo>
                      <a:pt x="302" y="114"/>
                      <a:pt x="302" y="114"/>
                      <a:pt x="302" y="114"/>
                    </a:cubicBezTo>
                    <a:cubicBezTo>
                      <a:pt x="302" y="114"/>
                      <a:pt x="302" y="114"/>
                      <a:pt x="302" y="114"/>
                    </a:cubicBezTo>
                    <a:close/>
                    <a:moveTo>
                      <a:pt x="302" y="270"/>
                    </a:moveTo>
                    <a:cubicBezTo>
                      <a:pt x="392" y="270"/>
                      <a:pt x="392" y="270"/>
                      <a:pt x="392" y="270"/>
                    </a:cubicBezTo>
                    <a:cubicBezTo>
                      <a:pt x="392" y="358"/>
                      <a:pt x="392" y="358"/>
                      <a:pt x="392" y="358"/>
                    </a:cubicBezTo>
                    <a:cubicBezTo>
                      <a:pt x="302" y="358"/>
                      <a:pt x="302" y="358"/>
                      <a:pt x="302" y="358"/>
                    </a:cubicBezTo>
                    <a:cubicBezTo>
                      <a:pt x="302" y="270"/>
                      <a:pt x="302" y="270"/>
                      <a:pt x="302" y="270"/>
                    </a:cubicBezTo>
                    <a:cubicBezTo>
                      <a:pt x="302" y="270"/>
                      <a:pt x="302" y="270"/>
                      <a:pt x="302" y="270"/>
                    </a:cubicBezTo>
                    <a:close/>
                    <a:moveTo>
                      <a:pt x="302" y="419"/>
                    </a:moveTo>
                    <a:cubicBezTo>
                      <a:pt x="392" y="419"/>
                      <a:pt x="392" y="419"/>
                      <a:pt x="392" y="419"/>
                    </a:cubicBezTo>
                    <a:cubicBezTo>
                      <a:pt x="392" y="507"/>
                      <a:pt x="392" y="507"/>
                      <a:pt x="392" y="507"/>
                    </a:cubicBezTo>
                    <a:cubicBezTo>
                      <a:pt x="302" y="507"/>
                      <a:pt x="302" y="507"/>
                      <a:pt x="302" y="507"/>
                    </a:cubicBezTo>
                    <a:cubicBezTo>
                      <a:pt x="302" y="419"/>
                      <a:pt x="302" y="419"/>
                      <a:pt x="302" y="419"/>
                    </a:cubicBezTo>
                    <a:cubicBezTo>
                      <a:pt x="302" y="419"/>
                      <a:pt x="302" y="419"/>
                      <a:pt x="302" y="419"/>
                    </a:cubicBezTo>
                    <a:close/>
                    <a:moveTo>
                      <a:pt x="139" y="114"/>
                    </a:moveTo>
                    <a:cubicBezTo>
                      <a:pt x="227" y="114"/>
                      <a:pt x="227" y="114"/>
                      <a:pt x="227" y="114"/>
                    </a:cubicBezTo>
                    <a:cubicBezTo>
                      <a:pt x="227" y="202"/>
                      <a:pt x="227" y="202"/>
                      <a:pt x="227" y="202"/>
                    </a:cubicBezTo>
                    <a:cubicBezTo>
                      <a:pt x="139" y="202"/>
                      <a:pt x="139" y="202"/>
                      <a:pt x="139" y="202"/>
                    </a:cubicBezTo>
                    <a:cubicBezTo>
                      <a:pt x="139" y="114"/>
                      <a:pt x="139" y="114"/>
                      <a:pt x="139" y="114"/>
                    </a:cubicBezTo>
                    <a:cubicBezTo>
                      <a:pt x="139" y="114"/>
                      <a:pt x="139" y="114"/>
                      <a:pt x="139" y="114"/>
                    </a:cubicBezTo>
                    <a:close/>
                    <a:moveTo>
                      <a:pt x="139" y="270"/>
                    </a:moveTo>
                    <a:cubicBezTo>
                      <a:pt x="227" y="270"/>
                      <a:pt x="227" y="270"/>
                      <a:pt x="227" y="270"/>
                    </a:cubicBezTo>
                    <a:cubicBezTo>
                      <a:pt x="227" y="358"/>
                      <a:pt x="227" y="358"/>
                      <a:pt x="227" y="358"/>
                    </a:cubicBezTo>
                    <a:cubicBezTo>
                      <a:pt x="139" y="358"/>
                      <a:pt x="139" y="358"/>
                      <a:pt x="139" y="358"/>
                    </a:cubicBezTo>
                    <a:cubicBezTo>
                      <a:pt x="139" y="270"/>
                      <a:pt x="139" y="270"/>
                      <a:pt x="139" y="270"/>
                    </a:cubicBezTo>
                    <a:cubicBezTo>
                      <a:pt x="139" y="270"/>
                      <a:pt x="139" y="270"/>
                      <a:pt x="139" y="270"/>
                    </a:cubicBezTo>
                    <a:close/>
                    <a:moveTo>
                      <a:pt x="139" y="419"/>
                    </a:moveTo>
                    <a:cubicBezTo>
                      <a:pt x="227" y="419"/>
                      <a:pt x="227" y="419"/>
                      <a:pt x="227" y="419"/>
                    </a:cubicBezTo>
                    <a:cubicBezTo>
                      <a:pt x="227" y="507"/>
                      <a:pt x="227" y="507"/>
                      <a:pt x="227" y="507"/>
                    </a:cubicBezTo>
                    <a:cubicBezTo>
                      <a:pt x="139" y="507"/>
                      <a:pt x="139" y="507"/>
                      <a:pt x="139" y="507"/>
                    </a:cubicBezTo>
                    <a:cubicBezTo>
                      <a:pt x="139" y="419"/>
                      <a:pt x="139" y="419"/>
                      <a:pt x="139" y="419"/>
                    </a:cubicBezTo>
                    <a:cubicBezTo>
                      <a:pt x="139" y="419"/>
                      <a:pt x="139" y="419"/>
                      <a:pt x="139" y="419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294"/>
                <a:endParaRPr lang="en-US" sz="14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2163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04864"/>
            <a:ext cx="9144000" cy="1362075"/>
          </a:xfrm>
        </p:spPr>
        <p:txBody>
          <a:bodyPr>
            <a:normAutofit/>
          </a:bodyPr>
          <a:lstStyle/>
          <a:p>
            <a:pPr algn="ctr"/>
            <a:r>
              <a:rPr lang="en-IE" sz="4400" b="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Identity Management</a:t>
            </a:r>
            <a:endParaRPr lang="en-IE" sz="4400" b="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3566939"/>
            <a:ext cx="9144000" cy="438125"/>
          </a:xfrm>
        </p:spPr>
        <p:txBody>
          <a:bodyPr>
            <a:noAutofit/>
          </a:bodyPr>
          <a:lstStyle/>
          <a:p>
            <a:pPr algn="ctr"/>
            <a:r>
              <a:rPr lang="en-IE" sz="2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Active Directory and Windows Azure</a:t>
            </a:r>
            <a:endParaRPr lang="en-IE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7955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6648"/>
            <a:ext cx="9144000" cy="1399032"/>
          </a:xfrm>
        </p:spPr>
        <p:txBody>
          <a:bodyPr>
            <a:normAutofit/>
          </a:bodyPr>
          <a:lstStyle/>
          <a:p>
            <a:pPr marL="0"/>
            <a:r>
              <a:rPr lang="en-US" sz="4400" spc="-267" dirty="0" smtClean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      AD </a:t>
            </a:r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in the Cloud</a:t>
            </a:r>
            <a:endParaRPr lang="en-IE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Support pre-requisites for other apps or services</a:t>
            </a:r>
          </a:p>
          <a:p>
            <a:pPr lvl="1"/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Direct Authentication for Applications in the cloud</a:t>
            </a:r>
          </a:p>
          <a:p>
            <a:pPr lvl="1"/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Federation with </a:t>
            </a: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ADFS</a:t>
            </a:r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Serve as a substitute or failover for existing </a:t>
            </a: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domain</a:t>
            </a:r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Serve as primary </a:t>
            </a: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authority </a:t>
            </a:r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for cloud only data </a:t>
            </a:r>
            <a:r>
              <a:rPr lang="en-IE" dirty="0" err="1">
                <a:solidFill>
                  <a:schemeClr val="bg1"/>
                </a:solidFill>
                <a:latin typeface="Calibri" panose="020F0502020204030204" pitchFamily="34" charset="0"/>
              </a:rPr>
              <a:t>center</a:t>
            </a:r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3489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88032" y="267494"/>
            <a:ext cx="9468544" cy="1399032"/>
          </a:xfrm>
        </p:spPr>
        <p:txBody>
          <a:bodyPr>
            <a:no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eploying AD in a Windows Azure VM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Cloud Service with Initial Domain Controller</a:t>
            </a:r>
          </a:p>
          <a:p>
            <a:pPr lvl="1"/>
            <a:r>
              <a:rPr lang="en-IE" sz="3000" dirty="0">
                <a:solidFill>
                  <a:schemeClr val="bg1"/>
                </a:solidFill>
                <a:latin typeface="Calibri" panose="020F0502020204030204" pitchFamily="34" charset="0"/>
              </a:rPr>
              <a:t>Virtual Network Name</a:t>
            </a:r>
          </a:p>
          <a:p>
            <a:pPr lvl="1"/>
            <a:r>
              <a:rPr lang="en-IE" sz="3000" dirty="0">
                <a:solidFill>
                  <a:schemeClr val="bg1"/>
                </a:solidFill>
                <a:latin typeface="Calibri" panose="020F0502020204030204" pitchFamily="34" charset="0"/>
              </a:rPr>
              <a:t>Existing DNS Servers (If any)</a:t>
            </a:r>
          </a:p>
          <a:p>
            <a:pPr lvl="1"/>
            <a:r>
              <a:rPr lang="en-IE" sz="3000" dirty="0">
                <a:solidFill>
                  <a:schemeClr val="bg1"/>
                </a:solidFill>
                <a:latin typeface="Calibri" panose="020F0502020204030204" pitchFamily="34" charset="0"/>
              </a:rPr>
              <a:t>Virtual Network Subnet</a:t>
            </a:r>
          </a:p>
          <a:p>
            <a:pPr lvl="1"/>
            <a:r>
              <a:rPr lang="en-IE" sz="3000" dirty="0">
                <a:solidFill>
                  <a:schemeClr val="bg1"/>
                </a:solidFill>
                <a:latin typeface="Calibri" panose="020F0502020204030204" pitchFamily="34" charset="0"/>
              </a:rPr>
              <a:t>Domain Join Settings (If existing domain)</a:t>
            </a:r>
          </a:p>
          <a:p>
            <a:pPr lvl="1"/>
            <a:r>
              <a:rPr lang="en-IE" sz="3000" dirty="0">
                <a:solidFill>
                  <a:schemeClr val="bg1"/>
                </a:solidFill>
                <a:latin typeface="Calibri" panose="020F0502020204030204" pitchFamily="34" charset="0"/>
              </a:rPr>
              <a:t>Separate Data Disk for Active Directory </a:t>
            </a:r>
            <a:r>
              <a:rPr lang="en-IE" sz="3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atabase</a:t>
            </a:r>
          </a:p>
          <a:p>
            <a:pPr lvl="1"/>
            <a:r>
              <a:rPr lang="en-IE" sz="30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DCPromo</a:t>
            </a:r>
            <a:endParaRPr lang="en-IE" sz="3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Create Separate Cloud Service for AD Members</a:t>
            </a:r>
          </a:p>
          <a:p>
            <a:pPr lvl="1"/>
            <a:r>
              <a:rPr lang="en-IE" sz="3000" dirty="0">
                <a:solidFill>
                  <a:schemeClr val="bg1"/>
                </a:solidFill>
                <a:latin typeface="Calibri" panose="020F0502020204030204" pitchFamily="34" charset="0"/>
              </a:rPr>
              <a:t>Specify DNS at Deployment Level Using PowerShell for VMs </a:t>
            </a: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05900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7494"/>
            <a:ext cx="9144000" cy="1399032"/>
          </a:xfrm>
        </p:spPr>
        <p:txBody>
          <a:bodyPr>
            <a:norm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Cloud Services Configuration for AD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The Domain Controller can be located wherever convenient:</a:t>
            </a:r>
          </a:p>
          <a:p>
            <a:pPr marL="953262" lvl="1" indent="-514350">
              <a:buFont typeface="+mj-lt"/>
              <a:buAutoNum type="arabicPeriod"/>
            </a:pP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Domain </a:t>
            </a:r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Controller in Separate Cloud </a:t>
            </a: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Service</a:t>
            </a:r>
          </a:p>
          <a:p>
            <a:pPr marL="953262" lvl="1" indent="-51435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Domain Controller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On-Premises</a:t>
            </a:r>
          </a:p>
          <a:p>
            <a:pPr marL="953262" lvl="1" indent="-51435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Domain Controller in the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Cloud</a:t>
            </a:r>
          </a:p>
          <a:p>
            <a:pPr marL="578358" indent="-514350"/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On-premises and Cloud can have separate Domain Controllers</a:t>
            </a:r>
          </a:p>
          <a:p>
            <a:pPr marL="578358" indent="-514350">
              <a:buFont typeface="+mj-lt"/>
              <a:buAutoNum type="arabicPeriod"/>
            </a:pP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578358" indent="-514350">
              <a:buFont typeface="+mj-lt"/>
              <a:buAutoNum type="arabicPeriod"/>
            </a:pPr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120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085"/>
            <a:ext cx="9144000" cy="1399032"/>
          </a:xfrm>
        </p:spPr>
        <p:txBody>
          <a:bodyPr>
            <a:normAutofit/>
          </a:bodyPr>
          <a:lstStyle/>
          <a:p>
            <a:pPr marL="0"/>
            <a:r>
              <a:rPr lang="en-IE" sz="4400" dirty="0" smtClean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    Agenda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052736"/>
            <a:ext cx="8229600" cy="5904656"/>
          </a:xfrm>
        </p:spPr>
        <p:txBody>
          <a:bodyPr>
            <a:noAutofit/>
          </a:bodyPr>
          <a:lstStyle/>
          <a:p>
            <a:pPr lvl="0"/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Windows Azure Virtual Machines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ortability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upported operating systems</a:t>
            </a:r>
          </a:p>
          <a:p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Windows Azure Virtual Network</a:t>
            </a:r>
            <a:endParaRPr lang="en-IE" sz="2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lvl="0"/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Windows Azure Web Sites</a:t>
            </a:r>
          </a:p>
          <a:p>
            <a:pPr lvl="1"/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Gallery</a:t>
            </a:r>
            <a:endParaRPr lang="en-IE" sz="2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lvl="1"/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Environments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calability</a:t>
            </a:r>
          </a:p>
          <a:p>
            <a:pPr lvl="0"/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Lab</a:t>
            </a:r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: 	a)Building a </a:t>
            </a: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Virtual Machine</a:t>
            </a:r>
            <a:endParaRPr lang="en-US" sz="2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64008" lvl="0" indent="0">
              <a:buNone/>
            </a:pPr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		</a:t>
            </a: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b)Building a Web Site</a:t>
            </a:r>
            <a:endParaRPr lang="en-IE" sz="2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067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7494"/>
            <a:ext cx="8686800" cy="1399032"/>
          </a:xfrm>
        </p:spPr>
        <p:txBody>
          <a:bodyPr>
            <a:no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omain </a:t>
            </a:r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Controller in Separate Cloud </a:t>
            </a:r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Service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63556" y="2271240"/>
            <a:ext cx="8416888" cy="3966072"/>
            <a:chOff x="467544" y="2225404"/>
            <a:chExt cx="8416888" cy="3966072"/>
          </a:xfrm>
        </p:grpSpPr>
        <p:sp>
          <p:nvSpPr>
            <p:cNvPr id="4" name="Rectangle 3"/>
            <p:cNvSpPr/>
            <p:nvPr/>
          </p:nvSpPr>
          <p:spPr bwMode="auto">
            <a:xfrm>
              <a:off x="5227295" y="2488442"/>
              <a:ext cx="3258399" cy="3493329"/>
            </a:xfrm>
            <a:prstGeom prst="rect">
              <a:avLst/>
            </a:prstGeom>
            <a:solidFill>
              <a:schemeClr val="accent2"/>
            </a:solidFill>
            <a:ln w="28575" cmpd="sng">
              <a:solidFill>
                <a:schemeClr val="accent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45" tIns="34273" rIns="68545" bIns="342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244"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5412146" y="2622902"/>
              <a:ext cx="2401811" cy="10202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500" u="sng" dirty="0">
                  <a:solidFill>
                    <a:schemeClr val="bg1"/>
                  </a:solidFill>
                  <a:latin typeface="Calibri" panose="020F0502020204030204" pitchFamily="34" charset="0"/>
                </a:rPr>
                <a:t>Cloud </a:t>
              </a:r>
              <a:r>
                <a:rPr lang="en-US" sz="1500" u="sng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Service for AD Clients</a:t>
              </a:r>
              <a:endParaRPr lang="en-US" sz="1500" u="sng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Location: North Central US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Name: </a:t>
              </a:r>
              <a:r>
                <a:rPr lang="en-US" sz="12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pp-cloudservice.</a:t>
              </a:r>
              <a:r>
                <a:rPr lang="en-US" sz="12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cloudapp.net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Affinity Group: ADAG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 bwMode="auto">
            <a:xfrm>
              <a:off x="5412127" y="3482879"/>
              <a:ext cx="2888732" cy="2460579"/>
            </a:xfrm>
            <a:prstGeom prst="roundRect">
              <a:avLst/>
            </a:prstGeom>
            <a:solidFill>
              <a:schemeClr val="accent1"/>
            </a:solidFill>
            <a:ln w="254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45" tIns="34273" rIns="68545" bIns="342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244"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055735" y="3585614"/>
              <a:ext cx="1474763" cy="58015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500" u="sng" dirty="0">
                  <a:solidFill>
                    <a:schemeClr val="bg1"/>
                  </a:solidFill>
                  <a:latin typeface="Calibri" panose="020F0502020204030204" pitchFamily="34" charset="0"/>
                </a:rPr>
                <a:t>Deployment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>
                  <a:solidFill>
                    <a:schemeClr val="bg1"/>
                  </a:solidFill>
                  <a:latin typeface="Calibri" panose="020F0502020204030204" pitchFamily="34" charset="0"/>
                </a:rPr>
                <a:t>Virtual Network: </a:t>
              </a:r>
              <a:r>
                <a:rPr lang="en-US" sz="1100" dirty="0" err="1">
                  <a:solidFill>
                    <a:schemeClr val="bg1"/>
                  </a:solidFill>
                  <a:latin typeface="Calibri" panose="020F0502020204030204" pitchFamily="34" charset="0"/>
                </a:rPr>
                <a:t>MyVNET</a:t>
              </a:r>
              <a:endParaRPr lang="en-US" sz="11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>
                  <a:solidFill>
                    <a:schemeClr val="bg1"/>
                  </a:solidFill>
                  <a:latin typeface="Calibri" panose="020F0502020204030204" pitchFamily="34" charset="0"/>
                </a:rPr>
                <a:t>DNS </a:t>
              </a:r>
              <a:r>
                <a:rPr lang="en-US" sz="1100" dirty="0" err="1">
                  <a:solidFill>
                    <a:schemeClr val="bg1"/>
                  </a:solidFill>
                  <a:latin typeface="Calibri" panose="020F0502020204030204" pitchFamily="34" charset="0"/>
                </a:rPr>
                <a:t>Ips</a:t>
              </a:r>
              <a:r>
                <a:rPr lang="en-US" sz="1100" dirty="0">
                  <a:solidFill>
                    <a:schemeClr val="bg1"/>
                  </a:solidFill>
                  <a:latin typeface="Calibri" panose="020F0502020204030204" pitchFamily="34" charset="0"/>
                </a:rPr>
                <a:t>: </a:t>
              </a:r>
              <a:r>
                <a:rPr lang="en-US" sz="11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192.168.1.4</a:t>
              </a:r>
              <a:endParaRPr lang="en-US" sz="11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6096353" y="4258976"/>
              <a:ext cx="1541546" cy="7663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500" u="sng" dirty="0">
                  <a:solidFill>
                    <a:schemeClr val="bg1"/>
                  </a:solidFill>
                  <a:latin typeface="Calibri" panose="020F0502020204030204" pitchFamily="34" charset="0"/>
                </a:rPr>
                <a:t>Virtual Machine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>
                  <a:solidFill>
                    <a:schemeClr val="bg1"/>
                  </a:solidFill>
                  <a:latin typeface="Calibri" panose="020F0502020204030204" pitchFamily="34" charset="0"/>
                </a:rPr>
                <a:t>Role Name: </a:t>
              </a:r>
              <a:r>
                <a:rPr lang="en-US" sz="11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dvm1</a:t>
              </a:r>
              <a:endParaRPr lang="en-US" sz="11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>
                  <a:solidFill>
                    <a:schemeClr val="bg1"/>
                  </a:solidFill>
                  <a:latin typeface="Calibri" panose="020F0502020204030204" pitchFamily="34" charset="0"/>
                </a:rPr>
                <a:t>Subnet: </a:t>
              </a:r>
              <a:r>
                <a:rPr lang="en-US" sz="1100" dirty="0" err="1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ppSubnet</a:t>
              </a:r>
              <a:endParaRPr lang="en-US" sz="11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IP Address: 192.168.2.4</a:t>
              </a:r>
              <a:endParaRPr lang="en-US" sz="11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9" name="Picture 5"/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flipH="1">
              <a:off x="6421345" y="4991081"/>
              <a:ext cx="631110" cy="977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tangle 9"/>
            <p:cNvSpPr/>
            <p:nvPr/>
          </p:nvSpPr>
          <p:spPr bwMode="auto">
            <a:xfrm>
              <a:off x="855410" y="2488442"/>
              <a:ext cx="3258399" cy="3493329"/>
            </a:xfrm>
            <a:prstGeom prst="rect">
              <a:avLst/>
            </a:prstGeom>
            <a:solidFill>
              <a:schemeClr val="accent2"/>
            </a:solidFill>
            <a:ln w="28575" cmpd="sng">
              <a:solidFill>
                <a:schemeClr val="accent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45" tIns="34273" rIns="68545" bIns="342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244"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040241" y="2622902"/>
              <a:ext cx="2325317" cy="81714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500" u="sng" dirty="0">
                  <a:solidFill>
                    <a:schemeClr val="bg1"/>
                  </a:solidFill>
                  <a:latin typeface="Calibri" panose="020F0502020204030204" pitchFamily="34" charset="0"/>
                </a:rPr>
                <a:t>Cloud </a:t>
              </a:r>
              <a:r>
                <a:rPr lang="en-US" sz="1500" u="sng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Service for AD Domains</a:t>
              </a:r>
              <a:endParaRPr lang="en-US" sz="1500" u="sng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Location: North Central US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Name: </a:t>
              </a:r>
              <a:r>
                <a:rPr lang="en-US" sz="12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d-cloudservice.</a:t>
              </a:r>
              <a:r>
                <a:rPr lang="en-US" sz="12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cloudapp.net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ffinity Group: ADAG</a:t>
              </a: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1040242" y="3486300"/>
              <a:ext cx="2888732" cy="2460579"/>
            </a:xfrm>
            <a:prstGeom prst="roundRect">
              <a:avLst/>
            </a:prstGeom>
            <a:solidFill>
              <a:schemeClr val="accent1"/>
            </a:solidFill>
            <a:ln w="254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45" tIns="34273" rIns="68545" bIns="342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244"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678027" y="3585613"/>
              <a:ext cx="1606209" cy="766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500" u="sng" dirty="0">
                  <a:solidFill>
                    <a:schemeClr val="bg1"/>
                  </a:solidFill>
                  <a:latin typeface="Calibri" panose="020F0502020204030204" pitchFamily="34" charset="0"/>
                </a:rPr>
                <a:t>Deployment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>
                  <a:solidFill>
                    <a:schemeClr val="bg1"/>
                  </a:solidFill>
                  <a:latin typeface="Calibri" panose="020F0502020204030204" pitchFamily="34" charset="0"/>
                </a:rPr>
                <a:t>Virtual Network: </a:t>
              </a:r>
              <a:r>
                <a:rPr lang="en-US" sz="11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DVNET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DNS </a:t>
              </a:r>
              <a:r>
                <a:rPr lang="en-US" sz="1100" dirty="0" err="1" smtClean="0">
                  <a:solidFill>
                    <a:schemeClr val="bg1"/>
                  </a:solidFill>
                  <a:latin typeface="Calibri" panose="020F0502020204030204" pitchFamily="34" charset="0"/>
                </a:rPr>
                <a:t>Ips</a:t>
              </a:r>
              <a:r>
                <a:rPr lang="en-US" sz="11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: (On-Premise AD IP)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endParaRPr lang="en-US" sz="11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713836" y="4189761"/>
              <a:ext cx="1541546" cy="9525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500" u="sng" dirty="0">
                  <a:solidFill>
                    <a:schemeClr val="bg1"/>
                  </a:solidFill>
                  <a:latin typeface="Calibri" panose="020F0502020204030204" pitchFamily="34" charset="0"/>
                </a:rPr>
                <a:t>Virtual Machine</a:t>
              </a: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>
                  <a:solidFill>
                    <a:schemeClr val="bg1"/>
                  </a:solidFill>
                  <a:latin typeface="Calibri" panose="020F0502020204030204" pitchFamily="34" charset="0"/>
                </a:rPr>
                <a:t>Role Name: </a:t>
              </a:r>
              <a:r>
                <a:rPr lang="en-US" sz="11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d-dc</a:t>
              </a:r>
              <a:endParaRPr lang="en-US" sz="11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>
                  <a:solidFill>
                    <a:schemeClr val="bg1"/>
                  </a:solidFill>
                  <a:latin typeface="Calibri" panose="020F0502020204030204" pitchFamily="34" charset="0"/>
                </a:rPr>
                <a:t>Subnet: </a:t>
              </a:r>
              <a:r>
                <a:rPr lang="en-US" sz="1100" dirty="0" err="1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DSubnet</a:t>
              </a:r>
              <a:endParaRPr lang="en-US" sz="1100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1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IP Address: 192.168.1.4</a:t>
              </a:r>
              <a:endParaRPr lang="en-US" sz="11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marL="342735" indent="-342735">
                <a:lnSpc>
                  <a:spcPct val="90000"/>
                </a:lnSpc>
                <a:spcBef>
                  <a:spcPct val="20000"/>
                </a:spcBef>
                <a:buSzPct val="80000"/>
                <a:buFont typeface="Arial" pitchFamily="34" charset="0"/>
                <a:buChar char="•"/>
              </a:pPr>
              <a:endParaRPr lang="en-US" sz="11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5" name="Picture 5"/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flipH="1">
              <a:off x="2013753" y="4937916"/>
              <a:ext cx="631110" cy="977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Rectangle 15"/>
            <p:cNvSpPr/>
            <p:nvPr/>
          </p:nvSpPr>
          <p:spPr bwMode="auto">
            <a:xfrm>
              <a:off x="467544" y="2225404"/>
              <a:ext cx="8416888" cy="3966072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376" tIns="45689" rIns="91376" bIns="4568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529" fontAlgn="base">
                <a:spcBef>
                  <a:spcPct val="0"/>
                </a:spcBef>
                <a:spcAft>
                  <a:spcPct val="0"/>
                </a:spcAft>
              </a:pPr>
              <a:endParaRPr lang="en-US" sz="23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Left-Right Arrow 16"/>
            <p:cNvSpPr/>
            <p:nvPr/>
          </p:nvSpPr>
          <p:spPr bwMode="auto">
            <a:xfrm>
              <a:off x="4191718" y="4165773"/>
              <a:ext cx="958457" cy="226763"/>
            </a:xfrm>
            <a:prstGeom prst="leftRightArrow">
              <a:avLst>
                <a:gd name="adj1" fmla="val 68180"/>
                <a:gd name="adj2" fmla="val 47411"/>
              </a:avLst>
            </a:prstGeom>
            <a:solidFill>
              <a:schemeClr val="accent4"/>
            </a:solidFill>
            <a:ln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0"/>
              </a:lightRig>
            </a:scene3d>
            <a:sp3d>
              <a:contourClr>
                <a:schemeClr val="accent3">
                  <a:shade val="25000"/>
                  <a:satMod val="150000"/>
                </a:schemeClr>
              </a:contourClr>
            </a:sp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68545" tIns="34273" rIns="68545" bIns="3427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24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00" dirty="0">
                  <a:solidFill>
                    <a:schemeClr val="bg1"/>
                  </a:solidFill>
                  <a:latin typeface="Calibri" panose="020F0502020204030204" pitchFamily="34" charset="0"/>
                </a:rPr>
                <a:t>D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467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7494"/>
            <a:ext cx="9144000" cy="1399032"/>
          </a:xfrm>
        </p:spPr>
        <p:txBody>
          <a:bodyPr>
            <a:norm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omain Controller On-Premises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141" name="Group 140"/>
          <p:cNvGrpSpPr>
            <a:grpSpLocks noChangeAspect="1"/>
          </p:cNvGrpSpPr>
          <p:nvPr/>
        </p:nvGrpSpPr>
        <p:grpSpPr>
          <a:xfrm>
            <a:off x="35496" y="2173541"/>
            <a:ext cx="9022150" cy="3487707"/>
            <a:chOff x="382772" y="1562987"/>
            <a:chExt cx="11717079" cy="4529489"/>
          </a:xfrm>
        </p:grpSpPr>
        <p:grpSp>
          <p:nvGrpSpPr>
            <p:cNvPr id="142" name="Group 141"/>
            <p:cNvGrpSpPr/>
            <p:nvPr/>
          </p:nvGrpSpPr>
          <p:grpSpPr>
            <a:xfrm>
              <a:off x="9068451" y="2206895"/>
              <a:ext cx="2925095" cy="2814704"/>
              <a:chOff x="8948001" y="3799610"/>
              <a:chExt cx="2341419" cy="2341419"/>
            </a:xfrm>
          </p:grpSpPr>
          <p:sp>
            <p:nvSpPr>
              <p:cNvPr id="276" name="Rectangle 275"/>
              <p:cNvSpPr/>
              <p:nvPr/>
            </p:nvSpPr>
            <p:spPr bwMode="auto">
              <a:xfrm>
                <a:off x="8948001" y="3799610"/>
                <a:ext cx="2341419" cy="2341419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The Virtual Network</a:t>
                </a:r>
              </a:p>
              <a:p>
                <a:pPr algn="ctr" defTabSz="91352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in Windows Azure</a:t>
                </a:r>
              </a:p>
            </p:txBody>
          </p:sp>
          <p:sp>
            <p:nvSpPr>
              <p:cNvPr id="277" name="Freeform 40"/>
              <p:cNvSpPr>
                <a:spLocks noEditPoints="1"/>
              </p:cNvSpPr>
              <p:nvPr/>
            </p:nvSpPr>
            <p:spPr bwMode="black">
              <a:xfrm>
                <a:off x="10702813" y="4218422"/>
                <a:ext cx="547891" cy="527396"/>
              </a:xfrm>
              <a:custGeom>
                <a:avLst/>
                <a:gdLst>
                  <a:gd name="T0" fmla="*/ 461 w 891"/>
                  <a:gd name="T1" fmla="*/ 470 h 859"/>
                  <a:gd name="T2" fmla="*/ 793 w 891"/>
                  <a:gd name="T3" fmla="*/ 489 h 859"/>
                  <a:gd name="T4" fmla="*/ 707 w 891"/>
                  <a:gd name="T5" fmla="*/ 787 h 859"/>
                  <a:gd name="T6" fmla="*/ 375 w 891"/>
                  <a:gd name="T7" fmla="*/ 767 h 859"/>
                  <a:gd name="T8" fmla="*/ 461 w 891"/>
                  <a:gd name="T9" fmla="*/ 470 h 859"/>
                  <a:gd name="T10" fmla="*/ 430 w 891"/>
                  <a:gd name="T11" fmla="*/ 387 h 859"/>
                  <a:gd name="T12" fmla="*/ 517 w 891"/>
                  <a:gd name="T13" fmla="*/ 90 h 859"/>
                  <a:gd name="T14" fmla="*/ 184 w 891"/>
                  <a:gd name="T15" fmla="*/ 71 h 859"/>
                  <a:gd name="T16" fmla="*/ 98 w 891"/>
                  <a:gd name="T17" fmla="*/ 368 h 859"/>
                  <a:gd name="T18" fmla="*/ 430 w 891"/>
                  <a:gd name="T19" fmla="*/ 387 h 859"/>
                  <a:gd name="T20" fmla="*/ 83 w 891"/>
                  <a:gd name="T21" fmla="*/ 421 h 859"/>
                  <a:gd name="T22" fmla="*/ 0 w 891"/>
                  <a:gd name="T23" fmla="*/ 703 h 859"/>
                  <a:gd name="T24" fmla="*/ 0 w 891"/>
                  <a:gd name="T25" fmla="*/ 706 h 859"/>
                  <a:gd name="T26" fmla="*/ 7 w 891"/>
                  <a:gd name="T27" fmla="*/ 712 h 859"/>
                  <a:gd name="T28" fmla="*/ 9 w 891"/>
                  <a:gd name="T29" fmla="*/ 712 h 859"/>
                  <a:gd name="T30" fmla="*/ 329 w 891"/>
                  <a:gd name="T31" fmla="*/ 737 h 859"/>
                  <a:gd name="T32" fmla="*/ 415 w 891"/>
                  <a:gd name="T33" fmla="*/ 440 h 859"/>
                  <a:gd name="T34" fmla="*/ 83 w 891"/>
                  <a:gd name="T35" fmla="*/ 421 h 859"/>
                  <a:gd name="T36" fmla="*/ 883 w 891"/>
                  <a:gd name="T37" fmla="*/ 147 h 859"/>
                  <a:gd name="T38" fmla="*/ 882 w 891"/>
                  <a:gd name="T39" fmla="*/ 147 h 859"/>
                  <a:gd name="T40" fmla="*/ 561 w 891"/>
                  <a:gd name="T41" fmla="*/ 122 h 859"/>
                  <a:gd name="T42" fmla="*/ 475 w 891"/>
                  <a:gd name="T43" fmla="*/ 419 h 859"/>
                  <a:gd name="T44" fmla="*/ 808 w 891"/>
                  <a:gd name="T45" fmla="*/ 438 h 859"/>
                  <a:gd name="T46" fmla="*/ 891 w 891"/>
                  <a:gd name="T47" fmla="*/ 154 h 859"/>
                  <a:gd name="T48" fmla="*/ 891 w 891"/>
                  <a:gd name="T49" fmla="*/ 153 h 859"/>
                  <a:gd name="T50" fmla="*/ 883 w 891"/>
                  <a:gd name="T51" fmla="*/ 147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91" h="859">
                    <a:moveTo>
                      <a:pt x="461" y="470"/>
                    </a:moveTo>
                    <a:cubicBezTo>
                      <a:pt x="535" y="522"/>
                      <a:pt x="620" y="562"/>
                      <a:pt x="793" y="489"/>
                    </a:cubicBezTo>
                    <a:cubicBezTo>
                      <a:pt x="793" y="489"/>
                      <a:pt x="793" y="489"/>
                      <a:pt x="707" y="787"/>
                    </a:cubicBezTo>
                    <a:cubicBezTo>
                      <a:pt x="534" y="859"/>
                      <a:pt x="449" y="818"/>
                      <a:pt x="375" y="767"/>
                    </a:cubicBezTo>
                    <a:cubicBezTo>
                      <a:pt x="375" y="767"/>
                      <a:pt x="375" y="767"/>
                      <a:pt x="461" y="470"/>
                    </a:cubicBezTo>
                    <a:close/>
                    <a:moveTo>
                      <a:pt x="430" y="387"/>
                    </a:moveTo>
                    <a:cubicBezTo>
                      <a:pt x="517" y="90"/>
                      <a:pt x="517" y="90"/>
                      <a:pt x="517" y="90"/>
                    </a:cubicBezTo>
                    <a:cubicBezTo>
                      <a:pt x="441" y="41"/>
                      <a:pt x="357" y="0"/>
                      <a:pt x="184" y="71"/>
                    </a:cubicBezTo>
                    <a:cubicBezTo>
                      <a:pt x="98" y="368"/>
                      <a:pt x="98" y="368"/>
                      <a:pt x="98" y="368"/>
                    </a:cubicBezTo>
                    <a:cubicBezTo>
                      <a:pt x="271" y="297"/>
                      <a:pt x="354" y="337"/>
                      <a:pt x="430" y="387"/>
                    </a:cubicBezTo>
                    <a:close/>
                    <a:moveTo>
                      <a:pt x="83" y="421"/>
                    </a:moveTo>
                    <a:cubicBezTo>
                      <a:pt x="0" y="703"/>
                      <a:pt x="0" y="703"/>
                      <a:pt x="0" y="703"/>
                    </a:cubicBezTo>
                    <a:cubicBezTo>
                      <a:pt x="0" y="704"/>
                      <a:pt x="0" y="704"/>
                      <a:pt x="0" y="706"/>
                    </a:cubicBezTo>
                    <a:cubicBezTo>
                      <a:pt x="0" y="709"/>
                      <a:pt x="3" y="712"/>
                      <a:pt x="7" y="712"/>
                    </a:cubicBezTo>
                    <a:cubicBezTo>
                      <a:pt x="9" y="712"/>
                      <a:pt x="9" y="712"/>
                      <a:pt x="9" y="712"/>
                    </a:cubicBezTo>
                    <a:cubicBezTo>
                      <a:pt x="175" y="646"/>
                      <a:pt x="256" y="687"/>
                      <a:pt x="329" y="737"/>
                    </a:cubicBezTo>
                    <a:cubicBezTo>
                      <a:pt x="415" y="440"/>
                      <a:pt x="415" y="440"/>
                      <a:pt x="415" y="440"/>
                    </a:cubicBezTo>
                    <a:cubicBezTo>
                      <a:pt x="339" y="389"/>
                      <a:pt x="256" y="348"/>
                      <a:pt x="83" y="421"/>
                    </a:cubicBezTo>
                    <a:close/>
                    <a:moveTo>
                      <a:pt x="883" y="147"/>
                    </a:moveTo>
                    <a:cubicBezTo>
                      <a:pt x="882" y="147"/>
                      <a:pt x="882" y="147"/>
                      <a:pt x="882" y="147"/>
                    </a:cubicBezTo>
                    <a:cubicBezTo>
                      <a:pt x="716" y="212"/>
                      <a:pt x="634" y="172"/>
                      <a:pt x="561" y="122"/>
                    </a:cubicBezTo>
                    <a:cubicBezTo>
                      <a:pt x="475" y="419"/>
                      <a:pt x="475" y="419"/>
                      <a:pt x="475" y="419"/>
                    </a:cubicBezTo>
                    <a:cubicBezTo>
                      <a:pt x="551" y="468"/>
                      <a:pt x="634" y="509"/>
                      <a:pt x="808" y="438"/>
                    </a:cubicBezTo>
                    <a:cubicBezTo>
                      <a:pt x="891" y="154"/>
                      <a:pt x="891" y="154"/>
                      <a:pt x="891" y="154"/>
                    </a:cubicBezTo>
                    <a:cubicBezTo>
                      <a:pt x="891" y="153"/>
                      <a:pt x="891" y="153"/>
                      <a:pt x="891" y="153"/>
                    </a:cubicBezTo>
                    <a:cubicBezTo>
                      <a:pt x="891" y="150"/>
                      <a:pt x="888" y="147"/>
                      <a:pt x="883" y="1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43" name="Freeform 128"/>
            <p:cNvSpPr>
              <a:spLocks noChangeAspect="1"/>
            </p:cNvSpPr>
            <p:nvPr/>
          </p:nvSpPr>
          <p:spPr bwMode="black">
            <a:xfrm>
              <a:off x="4574210" y="2479597"/>
              <a:ext cx="3735578" cy="2063587"/>
            </a:xfrm>
            <a:custGeom>
              <a:avLst/>
              <a:gdLst>
                <a:gd name="T0" fmla="*/ 396 w 509"/>
                <a:gd name="T1" fmla="*/ 281 h 281"/>
                <a:gd name="T2" fmla="*/ 57 w 509"/>
                <a:gd name="T3" fmla="*/ 281 h 281"/>
                <a:gd name="T4" fmla="*/ 0 w 509"/>
                <a:gd name="T5" fmla="*/ 223 h 281"/>
                <a:gd name="T6" fmla="*/ 43 w 509"/>
                <a:gd name="T7" fmla="*/ 168 h 281"/>
                <a:gd name="T8" fmla="*/ 110 w 509"/>
                <a:gd name="T9" fmla="*/ 116 h 281"/>
                <a:gd name="T10" fmla="*/ 232 w 509"/>
                <a:gd name="T11" fmla="*/ 0 h 281"/>
                <a:gd name="T12" fmla="*/ 343 w 509"/>
                <a:gd name="T13" fmla="*/ 70 h 281"/>
                <a:gd name="T14" fmla="*/ 396 w 509"/>
                <a:gd name="T15" fmla="*/ 56 h 281"/>
                <a:gd name="T16" fmla="*/ 509 w 509"/>
                <a:gd name="T17" fmla="*/ 169 h 281"/>
                <a:gd name="T18" fmla="*/ 396 w 509"/>
                <a:gd name="T19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9" h="281">
                  <a:moveTo>
                    <a:pt x="396" y="281"/>
                  </a:moveTo>
                  <a:cubicBezTo>
                    <a:pt x="57" y="281"/>
                    <a:pt x="57" y="281"/>
                    <a:pt x="57" y="281"/>
                  </a:cubicBezTo>
                  <a:cubicBezTo>
                    <a:pt x="26" y="281"/>
                    <a:pt x="0" y="255"/>
                    <a:pt x="0" y="223"/>
                  </a:cubicBezTo>
                  <a:cubicBezTo>
                    <a:pt x="0" y="196"/>
                    <a:pt x="18" y="174"/>
                    <a:pt x="43" y="168"/>
                  </a:cubicBezTo>
                  <a:cubicBezTo>
                    <a:pt x="55" y="140"/>
                    <a:pt x="80" y="120"/>
                    <a:pt x="110" y="116"/>
                  </a:cubicBezTo>
                  <a:cubicBezTo>
                    <a:pt x="113" y="52"/>
                    <a:pt x="167" y="0"/>
                    <a:pt x="232" y="0"/>
                  </a:cubicBezTo>
                  <a:cubicBezTo>
                    <a:pt x="280" y="0"/>
                    <a:pt x="323" y="28"/>
                    <a:pt x="343" y="70"/>
                  </a:cubicBezTo>
                  <a:cubicBezTo>
                    <a:pt x="359" y="61"/>
                    <a:pt x="377" y="56"/>
                    <a:pt x="396" y="56"/>
                  </a:cubicBezTo>
                  <a:cubicBezTo>
                    <a:pt x="458" y="56"/>
                    <a:pt x="509" y="107"/>
                    <a:pt x="509" y="169"/>
                  </a:cubicBezTo>
                  <a:cubicBezTo>
                    <a:pt x="509" y="230"/>
                    <a:pt x="458" y="281"/>
                    <a:pt x="396" y="28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380" tIns="45691" rIns="91380" bIns="45691" numCol="1" anchor="t" anchorCtr="0" compatLnSpc="1">
              <a:prstTxWarp prst="textNoShape">
                <a:avLst/>
              </a:prstTxWarp>
            </a:bodyPr>
            <a:lstStyle/>
            <a:p>
              <a:pPr defTabSz="913793"/>
              <a:endParaRPr lang="en-US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44" name="Group 143"/>
            <p:cNvGrpSpPr/>
            <p:nvPr/>
          </p:nvGrpSpPr>
          <p:grpSpPr>
            <a:xfrm>
              <a:off x="9028644" y="2845971"/>
              <a:ext cx="990364" cy="1071106"/>
              <a:chOff x="9043177" y="4345563"/>
              <a:chExt cx="990364" cy="1071105"/>
            </a:xfrm>
          </p:grpSpPr>
          <p:grpSp>
            <p:nvGrpSpPr>
              <p:cNvPr id="272" name="Group 271"/>
              <p:cNvGrpSpPr/>
              <p:nvPr/>
            </p:nvGrpSpPr>
            <p:grpSpPr>
              <a:xfrm>
                <a:off x="9043177" y="4345563"/>
                <a:ext cx="990364" cy="1071105"/>
                <a:chOff x="1784550" y="4442923"/>
                <a:chExt cx="990364" cy="1071105"/>
              </a:xfrm>
            </p:grpSpPr>
            <p:pic>
              <p:nvPicPr>
                <p:cNvPr id="274" name="Picture 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100000" contrast="100000"/>
                </a:blip>
                <a:srcRect/>
                <a:stretch>
                  <a:fillRect/>
                </a:stretch>
              </p:blipFill>
              <p:spPr bwMode="auto">
                <a:xfrm>
                  <a:off x="1809804" y="4442923"/>
                  <a:ext cx="965110" cy="8842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275" name="Rectangle 274"/>
                <p:cNvSpPr/>
                <p:nvPr/>
              </p:nvSpPr>
              <p:spPr>
                <a:xfrm>
                  <a:off x="1784550" y="5178273"/>
                  <a:ext cx="947063" cy="33575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Gateway</a:t>
                  </a:r>
                </a:p>
              </p:txBody>
            </p:sp>
          </p:grpSp>
          <p:sp>
            <p:nvSpPr>
              <p:cNvPr id="273" name="Freeform 92"/>
              <p:cNvSpPr>
                <a:spLocks noEditPoints="1"/>
              </p:cNvSpPr>
              <p:nvPr/>
            </p:nvSpPr>
            <p:spPr bwMode="black">
              <a:xfrm>
                <a:off x="9842233" y="4787711"/>
                <a:ext cx="191307" cy="260655"/>
              </a:xfrm>
              <a:custGeom>
                <a:avLst/>
                <a:gdLst>
                  <a:gd name="T0" fmla="*/ 15 w 48"/>
                  <a:gd name="T1" fmla="*/ 11 h 66"/>
                  <a:gd name="T2" fmla="*/ 24 w 48"/>
                  <a:gd name="T3" fmla="*/ 9 h 66"/>
                  <a:gd name="T4" fmla="*/ 33 w 48"/>
                  <a:gd name="T5" fmla="*/ 11 h 66"/>
                  <a:gd name="T6" fmla="*/ 35 w 48"/>
                  <a:gd name="T7" fmla="*/ 23 h 66"/>
                  <a:gd name="T8" fmla="*/ 35 w 48"/>
                  <a:gd name="T9" fmla="*/ 25 h 66"/>
                  <a:gd name="T10" fmla="*/ 35 w 48"/>
                  <a:gd name="T11" fmla="*/ 27 h 66"/>
                  <a:gd name="T12" fmla="*/ 14 w 48"/>
                  <a:gd name="T13" fmla="*/ 27 h 66"/>
                  <a:gd name="T14" fmla="*/ 14 w 48"/>
                  <a:gd name="T15" fmla="*/ 25 h 66"/>
                  <a:gd name="T16" fmla="*/ 14 w 48"/>
                  <a:gd name="T17" fmla="*/ 22 h 66"/>
                  <a:gd name="T18" fmla="*/ 15 w 48"/>
                  <a:gd name="T19" fmla="*/ 11 h 66"/>
                  <a:gd name="T20" fmla="*/ 44 w 48"/>
                  <a:gd name="T21" fmla="*/ 28 h 66"/>
                  <a:gd name="T22" fmla="*/ 44 w 48"/>
                  <a:gd name="T23" fmla="*/ 25 h 66"/>
                  <a:gd name="T24" fmla="*/ 44 w 48"/>
                  <a:gd name="T25" fmla="*/ 23 h 66"/>
                  <a:gd name="T26" fmla="*/ 39 w 48"/>
                  <a:gd name="T27" fmla="*/ 5 h 66"/>
                  <a:gd name="T28" fmla="*/ 24 w 48"/>
                  <a:gd name="T29" fmla="*/ 0 h 66"/>
                  <a:gd name="T30" fmla="*/ 9 w 48"/>
                  <a:gd name="T31" fmla="*/ 5 h 66"/>
                  <a:gd name="T32" fmla="*/ 5 w 48"/>
                  <a:gd name="T33" fmla="*/ 22 h 66"/>
                  <a:gd name="T34" fmla="*/ 5 w 48"/>
                  <a:gd name="T35" fmla="*/ 25 h 66"/>
                  <a:gd name="T36" fmla="*/ 5 w 48"/>
                  <a:gd name="T37" fmla="*/ 27 h 66"/>
                  <a:gd name="T38" fmla="*/ 0 w 48"/>
                  <a:gd name="T39" fmla="*/ 32 h 66"/>
                  <a:gd name="T40" fmla="*/ 0 w 48"/>
                  <a:gd name="T41" fmla="*/ 62 h 66"/>
                  <a:gd name="T42" fmla="*/ 5 w 48"/>
                  <a:gd name="T43" fmla="*/ 66 h 66"/>
                  <a:gd name="T44" fmla="*/ 43 w 48"/>
                  <a:gd name="T45" fmla="*/ 66 h 66"/>
                  <a:gd name="T46" fmla="*/ 48 w 48"/>
                  <a:gd name="T47" fmla="*/ 62 h 66"/>
                  <a:gd name="T48" fmla="*/ 48 w 48"/>
                  <a:gd name="T49" fmla="*/ 32 h 66"/>
                  <a:gd name="T50" fmla="*/ 44 w 48"/>
                  <a:gd name="T51" fmla="*/ 2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66">
                    <a:moveTo>
                      <a:pt x="15" y="11"/>
                    </a:moveTo>
                    <a:cubicBezTo>
                      <a:pt x="17" y="10"/>
                      <a:pt x="20" y="9"/>
                      <a:pt x="24" y="9"/>
                    </a:cubicBezTo>
                    <a:cubicBezTo>
                      <a:pt x="29" y="9"/>
                      <a:pt x="32" y="10"/>
                      <a:pt x="33" y="11"/>
                    </a:cubicBezTo>
                    <a:cubicBezTo>
                      <a:pt x="35" y="13"/>
                      <a:pt x="35" y="18"/>
                      <a:pt x="35" y="23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5" y="26"/>
                      <a:pt x="35" y="27"/>
                      <a:pt x="35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4" y="26"/>
                      <a:pt x="14" y="25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17"/>
                      <a:pt x="14" y="13"/>
                      <a:pt x="15" y="11"/>
                    </a:cubicBezTo>
                    <a:moveTo>
                      <a:pt x="44" y="28"/>
                    </a:moveTo>
                    <a:cubicBezTo>
                      <a:pt x="44" y="27"/>
                      <a:pt x="44" y="26"/>
                      <a:pt x="44" y="25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16"/>
                      <a:pt x="44" y="10"/>
                      <a:pt x="39" y="5"/>
                    </a:cubicBezTo>
                    <a:cubicBezTo>
                      <a:pt x="36" y="2"/>
                      <a:pt x="31" y="0"/>
                      <a:pt x="24" y="0"/>
                    </a:cubicBezTo>
                    <a:cubicBezTo>
                      <a:pt x="17" y="0"/>
                      <a:pt x="12" y="2"/>
                      <a:pt x="9" y="5"/>
                    </a:cubicBezTo>
                    <a:cubicBezTo>
                      <a:pt x="5" y="9"/>
                      <a:pt x="5" y="16"/>
                      <a:pt x="5" y="22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5" y="26"/>
                      <a:pt x="5" y="27"/>
                      <a:pt x="5" y="27"/>
                    </a:cubicBezTo>
                    <a:cubicBezTo>
                      <a:pt x="2" y="28"/>
                      <a:pt x="0" y="30"/>
                      <a:pt x="0" y="3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4"/>
                      <a:pt x="2" y="66"/>
                      <a:pt x="5" y="66"/>
                    </a:cubicBezTo>
                    <a:cubicBezTo>
                      <a:pt x="43" y="66"/>
                      <a:pt x="43" y="66"/>
                      <a:pt x="43" y="66"/>
                    </a:cubicBezTo>
                    <a:cubicBezTo>
                      <a:pt x="46" y="66"/>
                      <a:pt x="48" y="64"/>
                      <a:pt x="48" y="6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0"/>
                      <a:pt x="46" y="28"/>
                      <a:pt x="44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45" name="Group 144"/>
            <p:cNvGrpSpPr/>
            <p:nvPr/>
          </p:nvGrpSpPr>
          <p:grpSpPr>
            <a:xfrm>
              <a:off x="6797774" y="4656636"/>
              <a:ext cx="430451" cy="1081861"/>
              <a:chOff x="4409404" y="1676776"/>
              <a:chExt cx="510347" cy="1282665"/>
            </a:xfrm>
          </p:grpSpPr>
          <p:sp>
            <p:nvSpPr>
              <p:cNvPr id="269" name="Freeform 27"/>
              <p:cNvSpPr>
                <a:spLocks noChangeAspect="1" noEditPoints="1"/>
              </p:cNvSpPr>
              <p:nvPr/>
            </p:nvSpPr>
            <p:spPr bwMode="black">
              <a:xfrm>
                <a:off x="4409404" y="1676776"/>
                <a:ext cx="510347" cy="328752"/>
              </a:xfrm>
              <a:custGeom>
                <a:avLst/>
                <a:gdLst/>
                <a:ahLst/>
                <a:cxnLst>
                  <a:cxn ang="0">
                    <a:pos x="340" y="182"/>
                  </a:cxn>
                  <a:cxn ang="0">
                    <a:pos x="340" y="16"/>
                  </a:cxn>
                  <a:cxn ang="0">
                    <a:pos x="324" y="0"/>
                  </a:cxn>
                  <a:cxn ang="0">
                    <a:pos x="47" y="0"/>
                  </a:cxn>
                  <a:cxn ang="0">
                    <a:pos x="31" y="16"/>
                  </a:cxn>
                  <a:cxn ang="0">
                    <a:pos x="31" y="182"/>
                  </a:cxn>
                  <a:cxn ang="0">
                    <a:pos x="0" y="220"/>
                  </a:cxn>
                  <a:cxn ang="0">
                    <a:pos x="19" y="240"/>
                  </a:cxn>
                  <a:cxn ang="0">
                    <a:pos x="352" y="240"/>
                  </a:cxn>
                  <a:cxn ang="0">
                    <a:pos x="371" y="220"/>
                  </a:cxn>
                  <a:cxn ang="0">
                    <a:pos x="340" y="182"/>
                  </a:cxn>
                  <a:cxn ang="0">
                    <a:pos x="211" y="225"/>
                  </a:cxn>
                  <a:cxn ang="0">
                    <a:pos x="154" y="225"/>
                  </a:cxn>
                  <a:cxn ang="0">
                    <a:pos x="148" y="222"/>
                  </a:cxn>
                  <a:cxn ang="0">
                    <a:pos x="155" y="209"/>
                  </a:cxn>
                  <a:cxn ang="0">
                    <a:pos x="160" y="207"/>
                  </a:cxn>
                  <a:cxn ang="0">
                    <a:pos x="205" y="207"/>
                  </a:cxn>
                  <a:cxn ang="0">
                    <a:pos x="210" y="209"/>
                  </a:cxn>
                  <a:cxn ang="0">
                    <a:pos x="217" y="222"/>
                  </a:cxn>
                  <a:cxn ang="0">
                    <a:pos x="211" y="225"/>
                  </a:cxn>
                  <a:cxn ang="0">
                    <a:pos x="315" y="178"/>
                  </a:cxn>
                  <a:cxn ang="0">
                    <a:pos x="56" y="178"/>
                  </a:cxn>
                  <a:cxn ang="0">
                    <a:pos x="56" y="33"/>
                  </a:cxn>
                  <a:cxn ang="0">
                    <a:pos x="63" y="25"/>
                  </a:cxn>
                  <a:cxn ang="0">
                    <a:pos x="308" y="25"/>
                  </a:cxn>
                  <a:cxn ang="0">
                    <a:pos x="315" y="33"/>
                  </a:cxn>
                  <a:cxn ang="0">
                    <a:pos x="315" y="178"/>
                  </a:cxn>
                </a:cxnLst>
                <a:rect l="0" t="0" r="r" b="b"/>
                <a:pathLst>
                  <a:path w="371" h="240">
                    <a:moveTo>
                      <a:pt x="340" y="182"/>
                    </a:moveTo>
                    <a:cubicBezTo>
                      <a:pt x="340" y="16"/>
                      <a:pt x="340" y="16"/>
                      <a:pt x="340" y="16"/>
                    </a:cubicBezTo>
                    <a:cubicBezTo>
                      <a:pt x="340" y="8"/>
                      <a:pt x="333" y="0"/>
                      <a:pt x="3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8" y="0"/>
                      <a:pt x="31" y="8"/>
                      <a:pt x="31" y="16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1"/>
                      <a:pt x="9" y="240"/>
                      <a:pt x="19" y="240"/>
                    </a:cubicBezTo>
                    <a:cubicBezTo>
                      <a:pt x="352" y="240"/>
                      <a:pt x="352" y="240"/>
                      <a:pt x="352" y="240"/>
                    </a:cubicBezTo>
                    <a:cubicBezTo>
                      <a:pt x="362" y="240"/>
                      <a:pt x="371" y="231"/>
                      <a:pt x="371" y="220"/>
                    </a:cubicBezTo>
                    <a:lnTo>
                      <a:pt x="340" y="182"/>
                    </a:lnTo>
                    <a:close/>
                    <a:moveTo>
                      <a:pt x="211" y="225"/>
                    </a:moveTo>
                    <a:cubicBezTo>
                      <a:pt x="154" y="225"/>
                      <a:pt x="154" y="225"/>
                      <a:pt x="154" y="225"/>
                    </a:cubicBezTo>
                    <a:cubicBezTo>
                      <a:pt x="151" y="225"/>
                      <a:pt x="148" y="223"/>
                      <a:pt x="148" y="222"/>
                    </a:cubicBezTo>
                    <a:cubicBezTo>
                      <a:pt x="155" y="209"/>
                      <a:pt x="155" y="209"/>
                      <a:pt x="155" y="209"/>
                    </a:cubicBezTo>
                    <a:cubicBezTo>
                      <a:pt x="155" y="208"/>
                      <a:pt x="157" y="207"/>
                      <a:pt x="160" y="207"/>
                    </a:cubicBezTo>
                    <a:cubicBezTo>
                      <a:pt x="205" y="207"/>
                      <a:pt x="205" y="207"/>
                      <a:pt x="205" y="207"/>
                    </a:cubicBezTo>
                    <a:cubicBezTo>
                      <a:pt x="208" y="207"/>
                      <a:pt x="210" y="208"/>
                      <a:pt x="210" y="209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7" y="223"/>
                      <a:pt x="214" y="225"/>
                      <a:pt x="211" y="225"/>
                    </a:cubicBezTo>
                    <a:close/>
                    <a:moveTo>
                      <a:pt x="315" y="178"/>
                    </a:moveTo>
                    <a:cubicBezTo>
                      <a:pt x="56" y="178"/>
                      <a:pt x="56" y="178"/>
                      <a:pt x="56" y="17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28"/>
                      <a:pt x="59" y="25"/>
                      <a:pt x="63" y="25"/>
                    </a:cubicBezTo>
                    <a:cubicBezTo>
                      <a:pt x="308" y="25"/>
                      <a:pt x="308" y="25"/>
                      <a:pt x="308" y="25"/>
                    </a:cubicBezTo>
                    <a:cubicBezTo>
                      <a:pt x="312" y="25"/>
                      <a:pt x="315" y="28"/>
                      <a:pt x="315" y="33"/>
                    </a:cubicBezTo>
                    <a:lnTo>
                      <a:pt x="315" y="178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70" name="Freeform 27"/>
              <p:cNvSpPr>
                <a:spLocks noChangeAspect="1" noEditPoints="1"/>
              </p:cNvSpPr>
              <p:nvPr/>
            </p:nvSpPr>
            <p:spPr bwMode="black">
              <a:xfrm>
                <a:off x="4409404" y="2153733"/>
                <a:ext cx="510347" cy="328752"/>
              </a:xfrm>
              <a:custGeom>
                <a:avLst/>
                <a:gdLst/>
                <a:ahLst/>
                <a:cxnLst>
                  <a:cxn ang="0">
                    <a:pos x="340" y="182"/>
                  </a:cxn>
                  <a:cxn ang="0">
                    <a:pos x="340" y="16"/>
                  </a:cxn>
                  <a:cxn ang="0">
                    <a:pos x="324" y="0"/>
                  </a:cxn>
                  <a:cxn ang="0">
                    <a:pos x="47" y="0"/>
                  </a:cxn>
                  <a:cxn ang="0">
                    <a:pos x="31" y="16"/>
                  </a:cxn>
                  <a:cxn ang="0">
                    <a:pos x="31" y="182"/>
                  </a:cxn>
                  <a:cxn ang="0">
                    <a:pos x="0" y="220"/>
                  </a:cxn>
                  <a:cxn ang="0">
                    <a:pos x="19" y="240"/>
                  </a:cxn>
                  <a:cxn ang="0">
                    <a:pos x="352" y="240"/>
                  </a:cxn>
                  <a:cxn ang="0">
                    <a:pos x="371" y="220"/>
                  </a:cxn>
                  <a:cxn ang="0">
                    <a:pos x="340" y="182"/>
                  </a:cxn>
                  <a:cxn ang="0">
                    <a:pos x="211" y="225"/>
                  </a:cxn>
                  <a:cxn ang="0">
                    <a:pos x="154" y="225"/>
                  </a:cxn>
                  <a:cxn ang="0">
                    <a:pos x="148" y="222"/>
                  </a:cxn>
                  <a:cxn ang="0">
                    <a:pos x="155" y="209"/>
                  </a:cxn>
                  <a:cxn ang="0">
                    <a:pos x="160" y="207"/>
                  </a:cxn>
                  <a:cxn ang="0">
                    <a:pos x="205" y="207"/>
                  </a:cxn>
                  <a:cxn ang="0">
                    <a:pos x="210" y="209"/>
                  </a:cxn>
                  <a:cxn ang="0">
                    <a:pos x="217" y="222"/>
                  </a:cxn>
                  <a:cxn ang="0">
                    <a:pos x="211" y="225"/>
                  </a:cxn>
                  <a:cxn ang="0">
                    <a:pos x="315" y="178"/>
                  </a:cxn>
                  <a:cxn ang="0">
                    <a:pos x="56" y="178"/>
                  </a:cxn>
                  <a:cxn ang="0">
                    <a:pos x="56" y="33"/>
                  </a:cxn>
                  <a:cxn ang="0">
                    <a:pos x="63" y="25"/>
                  </a:cxn>
                  <a:cxn ang="0">
                    <a:pos x="308" y="25"/>
                  </a:cxn>
                  <a:cxn ang="0">
                    <a:pos x="315" y="33"/>
                  </a:cxn>
                  <a:cxn ang="0">
                    <a:pos x="315" y="178"/>
                  </a:cxn>
                </a:cxnLst>
                <a:rect l="0" t="0" r="r" b="b"/>
                <a:pathLst>
                  <a:path w="371" h="240">
                    <a:moveTo>
                      <a:pt x="340" y="182"/>
                    </a:moveTo>
                    <a:cubicBezTo>
                      <a:pt x="340" y="16"/>
                      <a:pt x="340" y="16"/>
                      <a:pt x="340" y="16"/>
                    </a:cubicBezTo>
                    <a:cubicBezTo>
                      <a:pt x="340" y="8"/>
                      <a:pt x="333" y="0"/>
                      <a:pt x="3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8" y="0"/>
                      <a:pt x="31" y="8"/>
                      <a:pt x="31" y="16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1"/>
                      <a:pt x="9" y="240"/>
                      <a:pt x="19" y="240"/>
                    </a:cubicBezTo>
                    <a:cubicBezTo>
                      <a:pt x="352" y="240"/>
                      <a:pt x="352" y="240"/>
                      <a:pt x="352" y="240"/>
                    </a:cubicBezTo>
                    <a:cubicBezTo>
                      <a:pt x="362" y="240"/>
                      <a:pt x="371" y="231"/>
                      <a:pt x="371" y="220"/>
                    </a:cubicBezTo>
                    <a:lnTo>
                      <a:pt x="340" y="182"/>
                    </a:lnTo>
                    <a:close/>
                    <a:moveTo>
                      <a:pt x="211" y="225"/>
                    </a:moveTo>
                    <a:cubicBezTo>
                      <a:pt x="154" y="225"/>
                      <a:pt x="154" y="225"/>
                      <a:pt x="154" y="225"/>
                    </a:cubicBezTo>
                    <a:cubicBezTo>
                      <a:pt x="151" y="225"/>
                      <a:pt x="148" y="223"/>
                      <a:pt x="148" y="222"/>
                    </a:cubicBezTo>
                    <a:cubicBezTo>
                      <a:pt x="155" y="209"/>
                      <a:pt x="155" y="209"/>
                      <a:pt x="155" y="209"/>
                    </a:cubicBezTo>
                    <a:cubicBezTo>
                      <a:pt x="155" y="208"/>
                      <a:pt x="157" y="207"/>
                      <a:pt x="160" y="207"/>
                    </a:cubicBezTo>
                    <a:cubicBezTo>
                      <a:pt x="205" y="207"/>
                      <a:pt x="205" y="207"/>
                      <a:pt x="205" y="207"/>
                    </a:cubicBezTo>
                    <a:cubicBezTo>
                      <a:pt x="208" y="207"/>
                      <a:pt x="210" y="208"/>
                      <a:pt x="210" y="209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7" y="223"/>
                      <a:pt x="214" y="225"/>
                      <a:pt x="211" y="225"/>
                    </a:cubicBezTo>
                    <a:close/>
                    <a:moveTo>
                      <a:pt x="315" y="178"/>
                    </a:moveTo>
                    <a:cubicBezTo>
                      <a:pt x="56" y="178"/>
                      <a:pt x="56" y="178"/>
                      <a:pt x="56" y="17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28"/>
                      <a:pt x="59" y="25"/>
                      <a:pt x="63" y="25"/>
                    </a:cubicBezTo>
                    <a:cubicBezTo>
                      <a:pt x="308" y="25"/>
                      <a:pt x="308" y="25"/>
                      <a:pt x="308" y="25"/>
                    </a:cubicBezTo>
                    <a:cubicBezTo>
                      <a:pt x="312" y="25"/>
                      <a:pt x="315" y="28"/>
                      <a:pt x="315" y="33"/>
                    </a:cubicBezTo>
                    <a:lnTo>
                      <a:pt x="315" y="178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71" name="Freeform 27"/>
              <p:cNvSpPr>
                <a:spLocks noChangeAspect="1" noEditPoints="1"/>
              </p:cNvSpPr>
              <p:nvPr/>
            </p:nvSpPr>
            <p:spPr bwMode="black">
              <a:xfrm>
                <a:off x="4409404" y="2630689"/>
                <a:ext cx="510347" cy="328752"/>
              </a:xfrm>
              <a:custGeom>
                <a:avLst/>
                <a:gdLst/>
                <a:ahLst/>
                <a:cxnLst>
                  <a:cxn ang="0">
                    <a:pos x="340" y="182"/>
                  </a:cxn>
                  <a:cxn ang="0">
                    <a:pos x="340" y="16"/>
                  </a:cxn>
                  <a:cxn ang="0">
                    <a:pos x="324" y="0"/>
                  </a:cxn>
                  <a:cxn ang="0">
                    <a:pos x="47" y="0"/>
                  </a:cxn>
                  <a:cxn ang="0">
                    <a:pos x="31" y="16"/>
                  </a:cxn>
                  <a:cxn ang="0">
                    <a:pos x="31" y="182"/>
                  </a:cxn>
                  <a:cxn ang="0">
                    <a:pos x="0" y="220"/>
                  </a:cxn>
                  <a:cxn ang="0">
                    <a:pos x="19" y="240"/>
                  </a:cxn>
                  <a:cxn ang="0">
                    <a:pos x="352" y="240"/>
                  </a:cxn>
                  <a:cxn ang="0">
                    <a:pos x="371" y="220"/>
                  </a:cxn>
                  <a:cxn ang="0">
                    <a:pos x="340" y="182"/>
                  </a:cxn>
                  <a:cxn ang="0">
                    <a:pos x="211" y="225"/>
                  </a:cxn>
                  <a:cxn ang="0">
                    <a:pos x="154" y="225"/>
                  </a:cxn>
                  <a:cxn ang="0">
                    <a:pos x="148" y="222"/>
                  </a:cxn>
                  <a:cxn ang="0">
                    <a:pos x="155" y="209"/>
                  </a:cxn>
                  <a:cxn ang="0">
                    <a:pos x="160" y="207"/>
                  </a:cxn>
                  <a:cxn ang="0">
                    <a:pos x="205" y="207"/>
                  </a:cxn>
                  <a:cxn ang="0">
                    <a:pos x="210" y="209"/>
                  </a:cxn>
                  <a:cxn ang="0">
                    <a:pos x="217" y="222"/>
                  </a:cxn>
                  <a:cxn ang="0">
                    <a:pos x="211" y="225"/>
                  </a:cxn>
                  <a:cxn ang="0">
                    <a:pos x="315" y="178"/>
                  </a:cxn>
                  <a:cxn ang="0">
                    <a:pos x="56" y="178"/>
                  </a:cxn>
                  <a:cxn ang="0">
                    <a:pos x="56" y="33"/>
                  </a:cxn>
                  <a:cxn ang="0">
                    <a:pos x="63" y="25"/>
                  </a:cxn>
                  <a:cxn ang="0">
                    <a:pos x="308" y="25"/>
                  </a:cxn>
                  <a:cxn ang="0">
                    <a:pos x="315" y="33"/>
                  </a:cxn>
                  <a:cxn ang="0">
                    <a:pos x="315" y="178"/>
                  </a:cxn>
                </a:cxnLst>
                <a:rect l="0" t="0" r="r" b="b"/>
                <a:pathLst>
                  <a:path w="371" h="240">
                    <a:moveTo>
                      <a:pt x="340" y="182"/>
                    </a:moveTo>
                    <a:cubicBezTo>
                      <a:pt x="340" y="16"/>
                      <a:pt x="340" y="16"/>
                      <a:pt x="340" y="16"/>
                    </a:cubicBezTo>
                    <a:cubicBezTo>
                      <a:pt x="340" y="8"/>
                      <a:pt x="333" y="0"/>
                      <a:pt x="3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8" y="0"/>
                      <a:pt x="31" y="8"/>
                      <a:pt x="31" y="16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1"/>
                      <a:pt x="9" y="240"/>
                      <a:pt x="19" y="240"/>
                    </a:cubicBezTo>
                    <a:cubicBezTo>
                      <a:pt x="352" y="240"/>
                      <a:pt x="352" y="240"/>
                      <a:pt x="352" y="240"/>
                    </a:cubicBezTo>
                    <a:cubicBezTo>
                      <a:pt x="362" y="240"/>
                      <a:pt x="371" y="231"/>
                      <a:pt x="371" y="220"/>
                    </a:cubicBezTo>
                    <a:lnTo>
                      <a:pt x="340" y="182"/>
                    </a:lnTo>
                    <a:close/>
                    <a:moveTo>
                      <a:pt x="211" y="225"/>
                    </a:moveTo>
                    <a:cubicBezTo>
                      <a:pt x="154" y="225"/>
                      <a:pt x="154" y="225"/>
                      <a:pt x="154" y="225"/>
                    </a:cubicBezTo>
                    <a:cubicBezTo>
                      <a:pt x="151" y="225"/>
                      <a:pt x="148" y="223"/>
                      <a:pt x="148" y="222"/>
                    </a:cubicBezTo>
                    <a:cubicBezTo>
                      <a:pt x="155" y="209"/>
                      <a:pt x="155" y="209"/>
                      <a:pt x="155" y="209"/>
                    </a:cubicBezTo>
                    <a:cubicBezTo>
                      <a:pt x="155" y="208"/>
                      <a:pt x="157" y="207"/>
                      <a:pt x="160" y="207"/>
                    </a:cubicBezTo>
                    <a:cubicBezTo>
                      <a:pt x="205" y="207"/>
                      <a:pt x="205" y="207"/>
                      <a:pt x="205" y="207"/>
                    </a:cubicBezTo>
                    <a:cubicBezTo>
                      <a:pt x="208" y="207"/>
                      <a:pt x="210" y="208"/>
                      <a:pt x="210" y="209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7" y="223"/>
                      <a:pt x="214" y="225"/>
                      <a:pt x="211" y="225"/>
                    </a:cubicBezTo>
                    <a:close/>
                    <a:moveTo>
                      <a:pt x="315" y="178"/>
                    </a:moveTo>
                    <a:cubicBezTo>
                      <a:pt x="56" y="178"/>
                      <a:pt x="56" y="178"/>
                      <a:pt x="56" y="17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28"/>
                      <a:pt x="59" y="25"/>
                      <a:pt x="63" y="25"/>
                    </a:cubicBezTo>
                    <a:cubicBezTo>
                      <a:pt x="308" y="25"/>
                      <a:pt x="308" y="25"/>
                      <a:pt x="308" y="25"/>
                    </a:cubicBezTo>
                    <a:cubicBezTo>
                      <a:pt x="312" y="25"/>
                      <a:pt x="315" y="28"/>
                      <a:pt x="315" y="33"/>
                    </a:cubicBezTo>
                    <a:lnTo>
                      <a:pt x="315" y="178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46" name="Group 145"/>
            <p:cNvGrpSpPr/>
            <p:nvPr/>
          </p:nvGrpSpPr>
          <p:grpSpPr>
            <a:xfrm>
              <a:off x="7260572" y="4775528"/>
              <a:ext cx="988291" cy="824345"/>
              <a:chOff x="8395840" y="5569527"/>
              <a:chExt cx="988291" cy="824345"/>
            </a:xfrm>
          </p:grpSpPr>
          <p:cxnSp>
            <p:nvCxnSpPr>
              <p:cNvPr id="266" name="Straight Arrow Connector 265"/>
              <p:cNvCxnSpPr/>
              <p:nvPr/>
            </p:nvCxnSpPr>
            <p:spPr>
              <a:xfrm>
                <a:off x="8395840" y="5569527"/>
                <a:ext cx="988291" cy="123160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headEnd type="none" w="med" len="sm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Arrow Connector 266"/>
              <p:cNvCxnSpPr/>
              <p:nvPr/>
            </p:nvCxnSpPr>
            <p:spPr>
              <a:xfrm flipV="1">
                <a:off x="8395840" y="5692688"/>
                <a:ext cx="988291" cy="298896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headEnd type="none" w="med" len="sm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Straight Arrow Connector 267"/>
              <p:cNvCxnSpPr/>
              <p:nvPr/>
            </p:nvCxnSpPr>
            <p:spPr>
              <a:xfrm flipV="1">
                <a:off x="8395840" y="5692688"/>
                <a:ext cx="988291" cy="701184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headEnd type="none" w="med" len="sm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oup 146"/>
            <p:cNvGrpSpPr/>
            <p:nvPr/>
          </p:nvGrpSpPr>
          <p:grpSpPr>
            <a:xfrm>
              <a:off x="9939339" y="4093984"/>
              <a:ext cx="576145" cy="712232"/>
              <a:chOff x="9944860" y="5187045"/>
              <a:chExt cx="576144" cy="712232"/>
            </a:xfrm>
          </p:grpSpPr>
          <p:sp>
            <p:nvSpPr>
              <p:cNvPr id="264" name="Freeform 6"/>
              <p:cNvSpPr>
                <a:spLocks noChangeAspect="1" noEditPoints="1"/>
              </p:cNvSpPr>
              <p:nvPr/>
            </p:nvSpPr>
            <p:spPr bwMode="black">
              <a:xfrm>
                <a:off x="10192459" y="5526355"/>
                <a:ext cx="328545" cy="332665"/>
              </a:xfrm>
              <a:custGeom>
                <a:avLst/>
                <a:gdLst>
                  <a:gd name="T0" fmla="*/ 84 w 84"/>
                  <a:gd name="T1" fmla="*/ 43 h 85"/>
                  <a:gd name="T2" fmla="*/ 0 w 84"/>
                  <a:gd name="T3" fmla="*/ 43 h 85"/>
                  <a:gd name="T4" fmla="*/ 76 w 84"/>
                  <a:gd name="T5" fmla="*/ 27 h 85"/>
                  <a:gd name="T6" fmla="*/ 65 w 84"/>
                  <a:gd name="T7" fmla="*/ 40 h 85"/>
                  <a:gd name="T8" fmla="*/ 76 w 84"/>
                  <a:gd name="T9" fmla="*/ 27 h 85"/>
                  <a:gd name="T10" fmla="*/ 45 w 84"/>
                  <a:gd name="T11" fmla="*/ 27 h 85"/>
                  <a:gd name="T12" fmla="*/ 62 w 84"/>
                  <a:gd name="T13" fmla="*/ 40 h 85"/>
                  <a:gd name="T14" fmla="*/ 40 w 84"/>
                  <a:gd name="T15" fmla="*/ 27 h 85"/>
                  <a:gd name="T16" fmla="*/ 21 w 84"/>
                  <a:gd name="T17" fmla="*/ 40 h 85"/>
                  <a:gd name="T18" fmla="*/ 40 w 84"/>
                  <a:gd name="T19" fmla="*/ 27 h 85"/>
                  <a:gd name="T20" fmla="*/ 8 w 84"/>
                  <a:gd name="T21" fmla="*/ 27 h 85"/>
                  <a:gd name="T22" fmla="*/ 19 w 84"/>
                  <a:gd name="T23" fmla="*/ 40 h 85"/>
                  <a:gd name="T24" fmla="*/ 10 w 84"/>
                  <a:gd name="T25" fmla="*/ 21 h 85"/>
                  <a:gd name="T26" fmla="*/ 30 w 84"/>
                  <a:gd name="T27" fmla="*/ 6 h 85"/>
                  <a:gd name="T28" fmla="*/ 25 w 84"/>
                  <a:gd name="T29" fmla="*/ 21 h 85"/>
                  <a:gd name="T30" fmla="*/ 40 w 84"/>
                  <a:gd name="T31" fmla="*/ 4 h 85"/>
                  <a:gd name="T32" fmla="*/ 45 w 84"/>
                  <a:gd name="T33" fmla="*/ 21 h 85"/>
                  <a:gd name="T34" fmla="*/ 45 w 84"/>
                  <a:gd name="T35" fmla="*/ 5 h 85"/>
                  <a:gd name="T36" fmla="*/ 62 w 84"/>
                  <a:gd name="T37" fmla="*/ 21 h 85"/>
                  <a:gd name="T38" fmla="*/ 54 w 84"/>
                  <a:gd name="T39" fmla="*/ 6 h 85"/>
                  <a:gd name="T40" fmla="*/ 80 w 84"/>
                  <a:gd name="T41" fmla="*/ 45 h 85"/>
                  <a:gd name="T42" fmla="*/ 63 w 84"/>
                  <a:gd name="T43" fmla="*/ 59 h 85"/>
                  <a:gd name="T44" fmla="*/ 80 w 84"/>
                  <a:gd name="T45" fmla="*/ 45 h 85"/>
                  <a:gd name="T46" fmla="*/ 45 w 84"/>
                  <a:gd name="T47" fmla="*/ 45 h 85"/>
                  <a:gd name="T48" fmla="*/ 61 w 84"/>
                  <a:gd name="T49" fmla="*/ 59 h 85"/>
                  <a:gd name="T50" fmla="*/ 40 w 84"/>
                  <a:gd name="T51" fmla="*/ 45 h 85"/>
                  <a:gd name="T52" fmla="*/ 23 w 84"/>
                  <a:gd name="T53" fmla="*/ 59 h 85"/>
                  <a:gd name="T54" fmla="*/ 40 w 84"/>
                  <a:gd name="T55" fmla="*/ 45 h 85"/>
                  <a:gd name="T56" fmla="*/ 4 w 84"/>
                  <a:gd name="T57" fmla="*/ 45 h 85"/>
                  <a:gd name="T58" fmla="*/ 21 w 84"/>
                  <a:gd name="T59" fmla="*/ 59 h 85"/>
                  <a:gd name="T60" fmla="*/ 45 w 84"/>
                  <a:gd name="T61" fmla="*/ 64 h 85"/>
                  <a:gd name="T62" fmla="*/ 59 w 84"/>
                  <a:gd name="T63" fmla="*/ 64 h 85"/>
                  <a:gd name="T64" fmla="*/ 40 w 84"/>
                  <a:gd name="T65" fmla="*/ 81 h 85"/>
                  <a:gd name="T66" fmla="*/ 25 w 84"/>
                  <a:gd name="T67" fmla="*/ 64 h 85"/>
                  <a:gd name="T68" fmla="*/ 73 w 84"/>
                  <a:gd name="T69" fmla="*/ 64 h 85"/>
                  <a:gd name="T70" fmla="*/ 54 w 84"/>
                  <a:gd name="T71" fmla="*/ 79 h 85"/>
                  <a:gd name="T72" fmla="*/ 22 w 84"/>
                  <a:gd name="T73" fmla="*/ 64 h 85"/>
                  <a:gd name="T74" fmla="*/ 30 w 84"/>
                  <a:gd name="T75" fmla="*/ 7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4" h="85">
                    <a:moveTo>
                      <a:pt x="42" y="0"/>
                    </a:moveTo>
                    <a:cubicBezTo>
                      <a:pt x="65" y="0"/>
                      <a:pt x="84" y="19"/>
                      <a:pt x="84" y="43"/>
                    </a:cubicBezTo>
                    <a:cubicBezTo>
                      <a:pt x="84" y="66"/>
                      <a:pt x="65" y="85"/>
                      <a:pt x="42" y="85"/>
                    </a:cubicBezTo>
                    <a:cubicBezTo>
                      <a:pt x="19" y="85"/>
                      <a:pt x="0" y="66"/>
                      <a:pt x="0" y="43"/>
                    </a:cubicBezTo>
                    <a:cubicBezTo>
                      <a:pt x="0" y="19"/>
                      <a:pt x="19" y="0"/>
                      <a:pt x="42" y="0"/>
                    </a:cubicBezTo>
                    <a:close/>
                    <a:moveTo>
                      <a:pt x="76" y="27"/>
                    </a:moveTo>
                    <a:cubicBezTo>
                      <a:pt x="63" y="27"/>
                      <a:pt x="63" y="27"/>
                      <a:pt x="63" y="27"/>
                    </a:cubicBezTo>
                    <a:cubicBezTo>
                      <a:pt x="64" y="31"/>
                      <a:pt x="65" y="35"/>
                      <a:pt x="65" y="40"/>
                    </a:cubicBezTo>
                    <a:cubicBezTo>
                      <a:pt x="80" y="40"/>
                      <a:pt x="80" y="40"/>
                      <a:pt x="80" y="40"/>
                    </a:cubicBezTo>
                    <a:cubicBezTo>
                      <a:pt x="79" y="35"/>
                      <a:pt x="78" y="31"/>
                      <a:pt x="76" y="27"/>
                    </a:cubicBezTo>
                    <a:close/>
                    <a:moveTo>
                      <a:pt x="61" y="27"/>
                    </a:move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2" y="35"/>
                      <a:pt x="62" y="31"/>
                      <a:pt x="61" y="27"/>
                    </a:cubicBezTo>
                    <a:close/>
                    <a:moveTo>
                      <a:pt x="40" y="27"/>
                    </a:moveTo>
                    <a:cubicBezTo>
                      <a:pt x="23" y="27"/>
                      <a:pt x="23" y="27"/>
                      <a:pt x="23" y="27"/>
                    </a:cubicBezTo>
                    <a:cubicBezTo>
                      <a:pt x="22" y="31"/>
                      <a:pt x="22" y="35"/>
                      <a:pt x="21" y="40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0" y="27"/>
                      <a:pt x="40" y="27"/>
                      <a:pt x="40" y="27"/>
                    </a:cubicBezTo>
                    <a:close/>
                    <a:moveTo>
                      <a:pt x="21" y="27"/>
                    </a:moveTo>
                    <a:cubicBezTo>
                      <a:pt x="8" y="27"/>
                      <a:pt x="8" y="27"/>
                      <a:pt x="8" y="27"/>
                    </a:cubicBezTo>
                    <a:cubicBezTo>
                      <a:pt x="6" y="31"/>
                      <a:pt x="5" y="35"/>
                      <a:pt x="4" y="40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35"/>
                      <a:pt x="20" y="31"/>
                      <a:pt x="21" y="27"/>
                    </a:cubicBezTo>
                    <a:close/>
                    <a:moveTo>
                      <a:pt x="10" y="21"/>
                    </a:moveTo>
                    <a:cubicBezTo>
                      <a:pt x="22" y="21"/>
                      <a:pt x="22" y="21"/>
                      <a:pt x="22" y="21"/>
                    </a:cubicBezTo>
                    <a:cubicBezTo>
                      <a:pt x="24" y="15"/>
                      <a:pt x="27" y="10"/>
                      <a:pt x="30" y="6"/>
                    </a:cubicBezTo>
                    <a:cubicBezTo>
                      <a:pt x="22" y="9"/>
                      <a:pt x="15" y="14"/>
                      <a:pt x="10" y="21"/>
                    </a:cubicBezTo>
                    <a:close/>
                    <a:moveTo>
                      <a:pt x="25" y="21"/>
                    </a:move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33" y="6"/>
                      <a:pt x="28" y="12"/>
                      <a:pt x="25" y="21"/>
                    </a:cubicBezTo>
                    <a:close/>
                    <a:moveTo>
                      <a:pt x="45" y="21"/>
                    </a:move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2"/>
                      <a:pt x="51" y="6"/>
                      <a:pt x="45" y="5"/>
                    </a:cubicBezTo>
                    <a:cubicBezTo>
                      <a:pt x="45" y="21"/>
                      <a:pt x="45" y="21"/>
                      <a:pt x="45" y="21"/>
                    </a:cubicBezTo>
                    <a:close/>
                    <a:moveTo>
                      <a:pt x="62" y="21"/>
                    </a:moveTo>
                    <a:cubicBezTo>
                      <a:pt x="73" y="21"/>
                      <a:pt x="73" y="21"/>
                      <a:pt x="73" y="21"/>
                    </a:cubicBezTo>
                    <a:cubicBezTo>
                      <a:pt x="69" y="14"/>
                      <a:pt x="62" y="9"/>
                      <a:pt x="54" y="6"/>
                    </a:cubicBezTo>
                    <a:cubicBezTo>
                      <a:pt x="57" y="10"/>
                      <a:pt x="60" y="15"/>
                      <a:pt x="62" y="21"/>
                    </a:cubicBezTo>
                    <a:close/>
                    <a:moveTo>
                      <a:pt x="80" y="45"/>
                    </a:moveTo>
                    <a:cubicBezTo>
                      <a:pt x="65" y="45"/>
                      <a:pt x="65" y="45"/>
                      <a:pt x="65" y="45"/>
                    </a:cubicBezTo>
                    <a:cubicBezTo>
                      <a:pt x="65" y="50"/>
                      <a:pt x="64" y="54"/>
                      <a:pt x="63" y="59"/>
                    </a:cubicBezTo>
                    <a:cubicBezTo>
                      <a:pt x="76" y="59"/>
                      <a:pt x="76" y="59"/>
                      <a:pt x="76" y="59"/>
                    </a:cubicBezTo>
                    <a:cubicBezTo>
                      <a:pt x="78" y="54"/>
                      <a:pt x="79" y="50"/>
                      <a:pt x="80" y="45"/>
                    </a:cubicBezTo>
                    <a:close/>
                    <a:moveTo>
                      <a:pt x="62" y="45"/>
                    </a:moveTo>
                    <a:cubicBezTo>
                      <a:pt x="45" y="45"/>
                      <a:pt x="45" y="45"/>
                      <a:pt x="45" y="45"/>
                    </a:cubicBezTo>
                    <a:cubicBezTo>
                      <a:pt x="45" y="59"/>
                      <a:pt x="45" y="59"/>
                      <a:pt x="45" y="59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2" y="54"/>
                      <a:pt x="62" y="50"/>
                      <a:pt x="62" y="45"/>
                    </a:cubicBezTo>
                    <a:close/>
                    <a:moveTo>
                      <a:pt x="40" y="45"/>
                    </a:moveTo>
                    <a:cubicBezTo>
                      <a:pt x="21" y="45"/>
                      <a:pt x="21" y="45"/>
                      <a:pt x="21" y="45"/>
                    </a:cubicBezTo>
                    <a:cubicBezTo>
                      <a:pt x="22" y="50"/>
                      <a:pt x="22" y="54"/>
                      <a:pt x="23" y="59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45"/>
                      <a:pt x="40" y="45"/>
                      <a:pt x="40" y="45"/>
                    </a:cubicBezTo>
                    <a:close/>
                    <a:moveTo>
                      <a:pt x="19" y="45"/>
                    </a:moveTo>
                    <a:cubicBezTo>
                      <a:pt x="4" y="45"/>
                      <a:pt x="4" y="45"/>
                      <a:pt x="4" y="45"/>
                    </a:cubicBezTo>
                    <a:cubicBezTo>
                      <a:pt x="5" y="50"/>
                      <a:pt x="6" y="54"/>
                      <a:pt x="8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0" y="54"/>
                      <a:pt x="19" y="50"/>
                      <a:pt x="19" y="45"/>
                    </a:cubicBezTo>
                    <a:close/>
                    <a:moveTo>
                      <a:pt x="45" y="64"/>
                    </a:moveTo>
                    <a:cubicBezTo>
                      <a:pt x="45" y="81"/>
                      <a:pt x="45" y="81"/>
                      <a:pt x="45" y="81"/>
                    </a:cubicBezTo>
                    <a:cubicBezTo>
                      <a:pt x="51" y="79"/>
                      <a:pt x="56" y="73"/>
                      <a:pt x="59" y="64"/>
                    </a:cubicBezTo>
                    <a:cubicBezTo>
                      <a:pt x="45" y="64"/>
                      <a:pt x="45" y="64"/>
                      <a:pt x="45" y="64"/>
                    </a:cubicBezTo>
                    <a:close/>
                    <a:moveTo>
                      <a:pt x="40" y="81"/>
                    </a:moveTo>
                    <a:cubicBezTo>
                      <a:pt x="40" y="64"/>
                      <a:pt x="40" y="64"/>
                      <a:pt x="40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28" y="73"/>
                      <a:pt x="33" y="79"/>
                      <a:pt x="40" y="81"/>
                    </a:cubicBezTo>
                    <a:close/>
                    <a:moveTo>
                      <a:pt x="73" y="64"/>
                    </a:moveTo>
                    <a:cubicBezTo>
                      <a:pt x="62" y="64"/>
                      <a:pt x="62" y="64"/>
                      <a:pt x="62" y="64"/>
                    </a:cubicBezTo>
                    <a:cubicBezTo>
                      <a:pt x="60" y="70"/>
                      <a:pt x="57" y="75"/>
                      <a:pt x="54" y="79"/>
                    </a:cubicBezTo>
                    <a:cubicBezTo>
                      <a:pt x="62" y="76"/>
                      <a:pt x="69" y="71"/>
                      <a:pt x="73" y="64"/>
                    </a:cubicBezTo>
                    <a:close/>
                    <a:moveTo>
                      <a:pt x="22" y="64"/>
                    </a:moveTo>
                    <a:cubicBezTo>
                      <a:pt x="11" y="64"/>
                      <a:pt x="11" y="64"/>
                      <a:pt x="11" y="64"/>
                    </a:cubicBezTo>
                    <a:cubicBezTo>
                      <a:pt x="15" y="71"/>
                      <a:pt x="22" y="76"/>
                      <a:pt x="30" y="79"/>
                    </a:cubicBezTo>
                    <a:cubicBezTo>
                      <a:pt x="27" y="75"/>
                      <a:pt x="24" y="70"/>
                      <a:pt x="22" y="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pic>
            <p:nvPicPr>
              <p:cNvPr id="265" name="Picture 6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100000"/>
              </a:blip>
              <a:srcRect l="24157" r="25929"/>
              <a:stretch/>
            </p:blipFill>
            <p:spPr bwMode="auto">
              <a:xfrm>
                <a:off x="9944860" y="5187045"/>
                <a:ext cx="355510" cy="712232"/>
              </a:xfrm>
              <a:prstGeom prst="rect">
                <a:avLst/>
              </a:prstGeom>
              <a:noFill/>
            </p:spPr>
          </p:pic>
        </p:grpSp>
        <p:pic>
          <p:nvPicPr>
            <p:cNvPr id="148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100000" contrast="100000"/>
            </a:blip>
            <a:srcRect l="9422" t="9591" r="8195" b="13220"/>
            <a:stretch/>
          </p:blipFill>
          <p:spPr bwMode="auto">
            <a:xfrm>
              <a:off x="9652451" y="4109379"/>
              <a:ext cx="733110" cy="629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149" name="Group 148"/>
            <p:cNvGrpSpPr/>
            <p:nvPr/>
          </p:nvGrpSpPr>
          <p:grpSpPr>
            <a:xfrm>
              <a:off x="11160877" y="4068160"/>
              <a:ext cx="604285" cy="712232"/>
              <a:chOff x="4647795" y="6723311"/>
              <a:chExt cx="604285" cy="712232"/>
            </a:xfrm>
          </p:grpSpPr>
          <p:pic>
            <p:nvPicPr>
              <p:cNvPr id="262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4EB1E4"/>
                  </a:clrFrom>
                  <a:clrTo>
                    <a:srgbClr val="4EB1E4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18743" y="7037593"/>
                <a:ext cx="333337" cy="30258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63" name="Picture 6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100000"/>
              </a:blip>
              <a:srcRect l="24157" r="25929"/>
              <a:stretch/>
            </p:blipFill>
            <p:spPr bwMode="auto">
              <a:xfrm>
                <a:off x="4647795" y="6723311"/>
                <a:ext cx="355510" cy="712232"/>
              </a:xfrm>
              <a:prstGeom prst="rect">
                <a:avLst/>
              </a:prstGeom>
              <a:noFill/>
            </p:spPr>
          </p:pic>
        </p:grpSp>
        <p:pic>
          <p:nvPicPr>
            <p:cNvPr id="150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100000" contrast="100000"/>
            </a:blip>
            <a:srcRect l="9422" t="9591" r="8195" b="13220"/>
            <a:stretch/>
          </p:blipFill>
          <p:spPr bwMode="auto">
            <a:xfrm>
              <a:off x="10894133" y="4075407"/>
              <a:ext cx="733110" cy="629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51" name="Rectangle 150"/>
            <p:cNvSpPr/>
            <p:nvPr/>
          </p:nvSpPr>
          <p:spPr>
            <a:xfrm>
              <a:off x="10750463" y="4727223"/>
              <a:ext cx="1189646" cy="335680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SQL Servers</a:t>
              </a:r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9581586" y="4737103"/>
              <a:ext cx="1070982" cy="335680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IIS Servers</a:t>
              </a:r>
            </a:p>
          </p:txBody>
        </p:sp>
        <p:grpSp>
          <p:nvGrpSpPr>
            <p:cNvPr id="153" name="Group 152"/>
            <p:cNvGrpSpPr/>
            <p:nvPr/>
          </p:nvGrpSpPr>
          <p:grpSpPr bwMode="black">
            <a:xfrm>
              <a:off x="8239084" y="4581584"/>
              <a:ext cx="830326" cy="640637"/>
              <a:chOff x="7010400" y="2133600"/>
              <a:chExt cx="1379538" cy="1065213"/>
            </a:xfrm>
            <a:solidFill>
              <a:schemeClr val="tx2"/>
            </a:solidFill>
          </p:grpSpPr>
          <p:sp>
            <p:nvSpPr>
              <p:cNvPr id="215" name="Freeform 161"/>
              <p:cNvSpPr>
                <a:spLocks/>
              </p:cNvSpPr>
              <p:nvPr/>
            </p:nvSpPr>
            <p:spPr bwMode="black">
              <a:xfrm>
                <a:off x="7189788" y="2416175"/>
                <a:ext cx="57150" cy="49213"/>
              </a:xfrm>
              <a:custGeom>
                <a:avLst/>
                <a:gdLst>
                  <a:gd name="T0" fmla="*/ 36 w 36"/>
                  <a:gd name="T1" fmla="*/ 15 h 31"/>
                  <a:gd name="T2" fmla="*/ 28 w 36"/>
                  <a:gd name="T3" fmla="*/ 0 h 31"/>
                  <a:gd name="T4" fmla="*/ 0 w 36"/>
                  <a:gd name="T5" fmla="*/ 16 h 31"/>
                  <a:gd name="T6" fmla="*/ 8 w 36"/>
                  <a:gd name="T7" fmla="*/ 31 h 31"/>
                  <a:gd name="T8" fmla="*/ 36 w 3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1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1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16" name="Freeform 162"/>
              <p:cNvSpPr>
                <a:spLocks/>
              </p:cNvSpPr>
              <p:nvPr/>
            </p:nvSpPr>
            <p:spPr bwMode="black">
              <a:xfrm>
                <a:off x="7539038" y="2225675"/>
                <a:ext cx="57150" cy="47625"/>
              </a:xfrm>
              <a:custGeom>
                <a:avLst/>
                <a:gdLst>
                  <a:gd name="T0" fmla="*/ 36 w 36"/>
                  <a:gd name="T1" fmla="*/ 14 h 30"/>
                  <a:gd name="T2" fmla="*/ 28 w 36"/>
                  <a:gd name="T3" fmla="*/ 0 h 30"/>
                  <a:gd name="T4" fmla="*/ 0 w 36"/>
                  <a:gd name="T5" fmla="*/ 15 h 30"/>
                  <a:gd name="T6" fmla="*/ 8 w 36"/>
                  <a:gd name="T7" fmla="*/ 30 h 30"/>
                  <a:gd name="T8" fmla="*/ 36 w 36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4"/>
                    </a:moveTo>
                    <a:lnTo>
                      <a:pt x="28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6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17" name="Freeform 163"/>
              <p:cNvSpPr>
                <a:spLocks/>
              </p:cNvSpPr>
              <p:nvPr/>
            </p:nvSpPr>
            <p:spPr bwMode="black">
              <a:xfrm>
                <a:off x="7329488" y="2339975"/>
                <a:ext cx="57150" cy="47625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6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18" name="Freeform 164"/>
              <p:cNvSpPr>
                <a:spLocks/>
              </p:cNvSpPr>
              <p:nvPr/>
            </p:nvSpPr>
            <p:spPr bwMode="black">
              <a:xfrm>
                <a:off x="7399338" y="2301875"/>
                <a:ext cx="57150" cy="47625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5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19" name="Freeform 165"/>
              <p:cNvSpPr>
                <a:spLocks/>
              </p:cNvSpPr>
              <p:nvPr/>
            </p:nvSpPr>
            <p:spPr bwMode="black">
              <a:xfrm>
                <a:off x="7469188" y="2263775"/>
                <a:ext cx="58738" cy="47625"/>
              </a:xfrm>
              <a:custGeom>
                <a:avLst/>
                <a:gdLst>
                  <a:gd name="T0" fmla="*/ 37 w 37"/>
                  <a:gd name="T1" fmla="*/ 14 h 30"/>
                  <a:gd name="T2" fmla="*/ 29 w 37"/>
                  <a:gd name="T3" fmla="*/ 0 h 30"/>
                  <a:gd name="T4" fmla="*/ 0 w 37"/>
                  <a:gd name="T5" fmla="*/ 15 h 30"/>
                  <a:gd name="T6" fmla="*/ 8 w 37"/>
                  <a:gd name="T7" fmla="*/ 30 h 30"/>
                  <a:gd name="T8" fmla="*/ 37 w 37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37" y="14"/>
                    </a:moveTo>
                    <a:lnTo>
                      <a:pt x="29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0" name="Freeform 166"/>
              <p:cNvSpPr>
                <a:spLocks/>
              </p:cNvSpPr>
              <p:nvPr/>
            </p:nvSpPr>
            <p:spPr bwMode="black">
              <a:xfrm>
                <a:off x="7011988" y="2725738"/>
                <a:ext cx="31750" cy="52388"/>
              </a:xfrm>
              <a:custGeom>
                <a:avLst/>
                <a:gdLst>
                  <a:gd name="T0" fmla="*/ 40 w 41"/>
                  <a:gd name="T1" fmla="*/ 60 h 71"/>
                  <a:gd name="T2" fmla="*/ 36 w 41"/>
                  <a:gd name="T3" fmla="*/ 7 h 71"/>
                  <a:gd name="T4" fmla="*/ 35 w 41"/>
                  <a:gd name="T5" fmla="*/ 0 h 71"/>
                  <a:gd name="T6" fmla="*/ 0 w 41"/>
                  <a:gd name="T7" fmla="*/ 2 h 71"/>
                  <a:gd name="T8" fmla="*/ 0 w 41"/>
                  <a:gd name="T9" fmla="*/ 10 h 71"/>
                  <a:gd name="T10" fmla="*/ 5 w 41"/>
                  <a:gd name="T11" fmla="*/ 64 h 71"/>
                  <a:gd name="T12" fmla="*/ 6 w 41"/>
                  <a:gd name="T13" fmla="*/ 71 h 71"/>
                  <a:gd name="T14" fmla="*/ 41 w 41"/>
                  <a:gd name="T15" fmla="*/ 67 h 71"/>
                  <a:gd name="T16" fmla="*/ 40 w 41"/>
                  <a:gd name="T17" fmla="*/ 6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71">
                    <a:moveTo>
                      <a:pt x="40" y="60"/>
                    </a:moveTo>
                    <a:cubicBezTo>
                      <a:pt x="38" y="45"/>
                      <a:pt x="37" y="27"/>
                      <a:pt x="36" y="7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29"/>
                      <a:pt x="3" y="48"/>
                      <a:pt x="5" y="64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41" y="67"/>
                      <a:pt x="41" y="67"/>
                      <a:pt x="41" y="67"/>
                    </a:cubicBezTo>
                    <a:lnTo>
                      <a:pt x="40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1" name="Freeform 167"/>
              <p:cNvSpPr>
                <a:spLocks/>
              </p:cNvSpPr>
              <p:nvPr/>
            </p:nvSpPr>
            <p:spPr bwMode="black">
              <a:xfrm>
                <a:off x="7116763" y="2451100"/>
                <a:ext cx="57150" cy="31750"/>
              </a:xfrm>
              <a:custGeom>
                <a:avLst/>
                <a:gdLst>
                  <a:gd name="T0" fmla="*/ 51 w 77"/>
                  <a:gd name="T1" fmla="*/ 44 h 44"/>
                  <a:gd name="T2" fmla="*/ 70 w 77"/>
                  <a:gd name="T3" fmla="*/ 41 h 44"/>
                  <a:gd name="T4" fmla="*/ 77 w 77"/>
                  <a:gd name="T5" fmla="*/ 39 h 44"/>
                  <a:gd name="T6" fmla="*/ 67 w 77"/>
                  <a:gd name="T7" fmla="*/ 5 h 44"/>
                  <a:gd name="T8" fmla="*/ 60 w 77"/>
                  <a:gd name="T9" fmla="*/ 8 h 44"/>
                  <a:gd name="T10" fmla="*/ 18 w 77"/>
                  <a:gd name="T11" fmla="*/ 2 h 44"/>
                  <a:gd name="T12" fmla="*/ 11 w 77"/>
                  <a:gd name="T13" fmla="*/ 0 h 44"/>
                  <a:gd name="T14" fmla="*/ 0 w 77"/>
                  <a:gd name="T15" fmla="*/ 33 h 44"/>
                  <a:gd name="T16" fmla="*/ 7 w 77"/>
                  <a:gd name="T17" fmla="*/ 36 h 44"/>
                  <a:gd name="T18" fmla="*/ 51 w 77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44">
                    <a:moveTo>
                      <a:pt x="51" y="44"/>
                    </a:moveTo>
                    <a:cubicBezTo>
                      <a:pt x="58" y="44"/>
                      <a:pt x="64" y="43"/>
                      <a:pt x="70" y="41"/>
                    </a:cubicBezTo>
                    <a:cubicBezTo>
                      <a:pt x="77" y="39"/>
                      <a:pt x="77" y="39"/>
                      <a:pt x="77" y="39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51" y="10"/>
                      <a:pt x="38" y="8"/>
                      <a:pt x="18" y="2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25" y="41"/>
                      <a:pt x="39" y="44"/>
                      <a:pt x="51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2" name="Freeform 168"/>
              <p:cNvSpPr>
                <a:spLocks/>
              </p:cNvSpPr>
              <p:nvPr/>
            </p:nvSpPr>
            <p:spPr bwMode="black">
              <a:xfrm>
                <a:off x="7010400" y="2646363"/>
                <a:ext cx="26988" cy="52388"/>
              </a:xfrm>
              <a:custGeom>
                <a:avLst/>
                <a:gdLst>
                  <a:gd name="T0" fmla="*/ 36 w 36"/>
                  <a:gd name="T1" fmla="*/ 61 h 70"/>
                  <a:gd name="T2" fmla="*/ 35 w 36"/>
                  <a:gd name="T3" fmla="*/ 22 h 70"/>
                  <a:gd name="T4" fmla="*/ 35 w 36"/>
                  <a:gd name="T5" fmla="*/ 8 h 70"/>
                  <a:gd name="T6" fmla="*/ 35 w 36"/>
                  <a:gd name="T7" fmla="*/ 1 h 70"/>
                  <a:gd name="T8" fmla="*/ 0 w 36"/>
                  <a:gd name="T9" fmla="*/ 0 h 70"/>
                  <a:gd name="T10" fmla="*/ 0 w 36"/>
                  <a:gd name="T11" fmla="*/ 8 h 70"/>
                  <a:gd name="T12" fmla="*/ 0 w 36"/>
                  <a:gd name="T13" fmla="*/ 22 h 70"/>
                  <a:gd name="T14" fmla="*/ 1 w 36"/>
                  <a:gd name="T15" fmla="*/ 62 h 70"/>
                  <a:gd name="T16" fmla="*/ 1 w 36"/>
                  <a:gd name="T17" fmla="*/ 70 h 70"/>
                  <a:gd name="T18" fmla="*/ 36 w 36"/>
                  <a:gd name="T19" fmla="*/ 68 h 70"/>
                  <a:gd name="T20" fmla="*/ 36 w 36"/>
                  <a:gd name="T21" fmla="*/ 61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" h="70">
                    <a:moveTo>
                      <a:pt x="36" y="61"/>
                    </a:moveTo>
                    <a:cubicBezTo>
                      <a:pt x="35" y="47"/>
                      <a:pt x="35" y="34"/>
                      <a:pt x="35" y="22"/>
                    </a:cubicBezTo>
                    <a:cubicBezTo>
                      <a:pt x="35" y="17"/>
                      <a:pt x="35" y="13"/>
                      <a:pt x="35" y="8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2"/>
                      <a:pt x="0" y="17"/>
                      <a:pt x="0" y="22"/>
                    </a:cubicBezTo>
                    <a:cubicBezTo>
                      <a:pt x="0" y="34"/>
                      <a:pt x="0" y="48"/>
                      <a:pt x="1" y="62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6" y="68"/>
                      <a:pt x="36" y="68"/>
                      <a:pt x="36" y="68"/>
                    </a:cubicBezTo>
                    <a:lnTo>
                      <a:pt x="36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3" name="Freeform 169"/>
              <p:cNvSpPr>
                <a:spLocks/>
              </p:cNvSpPr>
              <p:nvPr/>
            </p:nvSpPr>
            <p:spPr bwMode="black">
              <a:xfrm>
                <a:off x="7608888" y="2187575"/>
                <a:ext cx="58738" cy="47625"/>
              </a:xfrm>
              <a:custGeom>
                <a:avLst/>
                <a:gdLst>
                  <a:gd name="T0" fmla="*/ 37 w 37"/>
                  <a:gd name="T1" fmla="*/ 14 h 30"/>
                  <a:gd name="T2" fmla="*/ 29 w 37"/>
                  <a:gd name="T3" fmla="*/ 0 h 30"/>
                  <a:gd name="T4" fmla="*/ 0 w 37"/>
                  <a:gd name="T5" fmla="*/ 15 h 30"/>
                  <a:gd name="T6" fmla="*/ 8 w 37"/>
                  <a:gd name="T7" fmla="*/ 30 h 30"/>
                  <a:gd name="T8" fmla="*/ 37 w 37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37" y="14"/>
                    </a:moveTo>
                    <a:lnTo>
                      <a:pt x="29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4" name="Freeform 170"/>
              <p:cNvSpPr>
                <a:spLocks/>
              </p:cNvSpPr>
              <p:nvPr/>
            </p:nvSpPr>
            <p:spPr bwMode="black">
              <a:xfrm>
                <a:off x="7011988" y="2566988"/>
                <a:ext cx="34925" cy="53975"/>
              </a:xfrm>
              <a:custGeom>
                <a:avLst/>
                <a:gdLst>
                  <a:gd name="T0" fmla="*/ 36 w 46"/>
                  <a:gd name="T1" fmla="*/ 64 h 72"/>
                  <a:gd name="T2" fmla="*/ 37 w 46"/>
                  <a:gd name="T3" fmla="*/ 61 h 72"/>
                  <a:gd name="T4" fmla="*/ 46 w 46"/>
                  <a:gd name="T5" fmla="*/ 21 h 72"/>
                  <a:gd name="T6" fmla="*/ 46 w 46"/>
                  <a:gd name="T7" fmla="*/ 7 h 72"/>
                  <a:gd name="T8" fmla="*/ 45 w 46"/>
                  <a:gd name="T9" fmla="*/ 0 h 72"/>
                  <a:gd name="T10" fmla="*/ 10 w 46"/>
                  <a:gd name="T11" fmla="*/ 2 h 72"/>
                  <a:gd name="T12" fmla="*/ 11 w 46"/>
                  <a:gd name="T13" fmla="*/ 10 h 72"/>
                  <a:gd name="T14" fmla="*/ 11 w 46"/>
                  <a:gd name="T15" fmla="*/ 21 h 72"/>
                  <a:gd name="T16" fmla="*/ 8 w 46"/>
                  <a:gd name="T17" fmla="*/ 42 h 72"/>
                  <a:gd name="T18" fmla="*/ 2 w 46"/>
                  <a:gd name="T19" fmla="*/ 56 h 72"/>
                  <a:gd name="T20" fmla="*/ 0 w 46"/>
                  <a:gd name="T21" fmla="*/ 63 h 72"/>
                  <a:gd name="T22" fmla="*/ 34 w 46"/>
                  <a:gd name="T23" fmla="*/ 72 h 72"/>
                  <a:gd name="T24" fmla="*/ 36 w 46"/>
                  <a:gd name="T25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72">
                    <a:moveTo>
                      <a:pt x="36" y="64"/>
                    </a:moveTo>
                    <a:cubicBezTo>
                      <a:pt x="37" y="62"/>
                      <a:pt x="37" y="61"/>
                      <a:pt x="37" y="61"/>
                    </a:cubicBezTo>
                    <a:cubicBezTo>
                      <a:pt x="43" y="51"/>
                      <a:pt x="46" y="38"/>
                      <a:pt x="46" y="21"/>
                    </a:cubicBezTo>
                    <a:cubicBezTo>
                      <a:pt x="46" y="17"/>
                      <a:pt x="46" y="12"/>
                      <a:pt x="46" y="7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4"/>
                      <a:pt x="11" y="17"/>
                      <a:pt x="11" y="21"/>
                    </a:cubicBezTo>
                    <a:cubicBezTo>
                      <a:pt x="11" y="35"/>
                      <a:pt x="9" y="40"/>
                      <a:pt x="8" y="42"/>
                    </a:cubicBezTo>
                    <a:cubicBezTo>
                      <a:pt x="5" y="46"/>
                      <a:pt x="3" y="50"/>
                      <a:pt x="2" y="56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34" y="72"/>
                      <a:pt x="34" y="72"/>
                      <a:pt x="34" y="72"/>
                    </a:cubicBezTo>
                    <a:lnTo>
                      <a:pt x="36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5" name="Freeform 171"/>
              <p:cNvSpPr>
                <a:spLocks/>
              </p:cNvSpPr>
              <p:nvPr/>
            </p:nvSpPr>
            <p:spPr bwMode="black">
              <a:xfrm>
                <a:off x="7011988" y="2484438"/>
                <a:ext cx="34925" cy="57150"/>
              </a:xfrm>
              <a:custGeom>
                <a:avLst/>
                <a:gdLst>
                  <a:gd name="T0" fmla="*/ 5 w 46"/>
                  <a:gd name="T1" fmla="*/ 76 h 76"/>
                  <a:gd name="T2" fmla="*/ 39 w 46"/>
                  <a:gd name="T3" fmla="*/ 70 h 76"/>
                  <a:gd name="T4" fmla="*/ 38 w 46"/>
                  <a:gd name="T5" fmla="*/ 63 h 76"/>
                  <a:gd name="T6" fmla="*/ 36 w 46"/>
                  <a:gd name="T7" fmla="*/ 46 h 76"/>
                  <a:gd name="T8" fmla="*/ 43 w 46"/>
                  <a:gd name="T9" fmla="*/ 21 h 76"/>
                  <a:gd name="T10" fmla="*/ 46 w 46"/>
                  <a:gd name="T11" fmla="*/ 14 h 76"/>
                  <a:gd name="T12" fmla="*/ 13 w 46"/>
                  <a:gd name="T13" fmla="*/ 0 h 76"/>
                  <a:gd name="T14" fmla="*/ 11 w 46"/>
                  <a:gd name="T15" fmla="*/ 7 h 76"/>
                  <a:gd name="T16" fmla="*/ 0 w 46"/>
                  <a:gd name="T17" fmla="*/ 46 h 76"/>
                  <a:gd name="T18" fmla="*/ 3 w 46"/>
                  <a:gd name="T19" fmla="*/ 69 h 76"/>
                  <a:gd name="T20" fmla="*/ 5 w 46"/>
                  <a:gd name="T21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76">
                    <a:moveTo>
                      <a:pt x="5" y="76"/>
                    </a:moveTo>
                    <a:cubicBezTo>
                      <a:pt x="39" y="70"/>
                      <a:pt x="39" y="70"/>
                      <a:pt x="39" y="70"/>
                    </a:cubicBezTo>
                    <a:cubicBezTo>
                      <a:pt x="38" y="63"/>
                      <a:pt x="38" y="63"/>
                      <a:pt x="38" y="63"/>
                    </a:cubicBezTo>
                    <a:cubicBezTo>
                      <a:pt x="37" y="58"/>
                      <a:pt x="36" y="49"/>
                      <a:pt x="36" y="46"/>
                    </a:cubicBezTo>
                    <a:cubicBezTo>
                      <a:pt x="36" y="43"/>
                      <a:pt x="37" y="35"/>
                      <a:pt x="43" y="2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6" y="18"/>
                      <a:pt x="0" y="34"/>
                      <a:pt x="0" y="46"/>
                    </a:cubicBezTo>
                    <a:cubicBezTo>
                      <a:pt x="0" y="51"/>
                      <a:pt x="1" y="58"/>
                      <a:pt x="3" y="69"/>
                    </a:cubicBezTo>
                    <a:lnTo>
                      <a:pt x="5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6" name="Freeform 172"/>
              <p:cNvSpPr>
                <a:spLocks/>
              </p:cNvSpPr>
              <p:nvPr/>
            </p:nvSpPr>
            <p:spPr bwMode="black">
              <a:xfrm>
                <a:off x="8045450" y="2289175"/>
                <a:ext cx="58738" cy="47625"/>
              </a:xfrm>
              <a:custGeom>
                <a:avLst/>
                <a:gdLst>
                  <a:gd name="T0" fmla="*/ 53 w 77"/>
                  <a:gd name="T1" fmla="*/ 61 h 64"/>
                  <a:gd name="T2" fmla="*/ 60 w 77"/>
                  <a:gd name="T3" fmla="*/ 64 h 64"/>
                  <a:gd name="T4" fmla="*/ 77 w 77"/>
                  <a:gd name="T5" fmla="*/ 34 h 64"/>
                  <a:gd name="T6" fmla="*/ 70 w 77"/>
                  <a:gd name="T7" fmla="*/ 30 h 64"/>
                  <a:gd name="T8" fmla="*/ 23 w 77"/>
                  <a:gd name="T9" fmla="*/ 4 h 64"/>
                  <a:gd name="T10" fmla="*/ 17 w 77"/>
                  <a:gd name="T11" fmla="*/ 0 h 64"/>
                  <a:gd name="T12" fmla="*/ 0 w 77"/>
                  <a:gd name="T13" fmla="*/ 31 h 64"/>
                  <a:gd name="T14" fmla="*/ 6 w 77"/>
                  <a:gd name="T15" fmla="*/ 35 h 64"/>
                  <a:gd name="T16" fmla="*/ 53 w 77"/>
                  <a:gd name="T17" fmla="*/ 6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3" y="61"/>
                    </a:moveTo>
                    <a:cubicBezTo>
                      <a:pt x="60" y="64"/>
                      <a:pt x="60" y="64"/>
                      <a:pt x="60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4" y="21"/>
                      <a:pt x="39" y="12"/>
                      <a:pt x="23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24" y="45"/>
                      <a:pt x="39" y="53"/>
                      <a:pt x="53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7" name="Freeform 173"/>
              <p:cNvSpPr>
                <a:spLocks/>
              </p:cNvSpPr>
              <p:nvPr/>
            </p:nvSpPr>
            <p:spPr bwMode="black">
              <a:xfrm>
                <a:off x="8251825" y="2411413"/>
                <a:ext cx="58738" cy="50800"/>
              </a:xfrm>
              <a:custGeom>
                <a:avLst/>
                <a:gdLst>
                  <a:gd name="T0" fmla="*/ 51 w 77"/>
                  <a:gd name="T1" fmla="*/ 63 h 67"/>
                  <a:gd name="T2" fmla="*/ 57 w 77"/>
                  <a:gd name="T3" fmla="*/ 67 h 67"/>
                  <a:gd name="T4" fmla="*/ 77 w 77"/>
                  <a:gd name="T5" fmla="*/ 38 h 67"/>
                  <a:gd name="T6" fmla="*/ 71 w 77"/>
                  <a:gd name="T7" fmla="*/ 34 h 67"/>
                  <a:gd name="T8" fmla="*/ 26 w 77"/>
                  <a:gd name="T9" fmla="*/ 4 h 67"/>
                  <a:gd name="T10" fmla="*/ 19 w 77"/>
                  <a:gd name="T11" fmla="*/ 0 h 67"/>
                  <a:gd name="T12" fmla="*/ 0 w 77"/>
                  <a:gd name="T13" fmla="*/ 29 h 67"/>
                  <a:gd name="T14" fmla="*/ 7 w 77"/>
                  <a:gd name="T15" fmla="*/ 33 h 67"/>
                  <a:gd name="T16" fmla="*/ 51 w 77"/>
                  <a:gd name="T17" fmla="*/ 6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7">
                    <a:moveTo>
                      <a:pt x="51" y="63"/>
                    </a:moveTo>
                    <a:cubicBezTo>
                      <a:pt x="57" y="67"/>
                      <a:pt x="57" y="67"/>
                      <a:pt x="57" y="67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71" y="34"/>
                      <a:pt x="71" y="34"/>
                      <a:pt x="71" y="34"/>
                    </a:cubicBezTo>
                    <a:cubicBezTo>
                      <a:pt x="58" y="25"/>
                      <a:pt x="42" y="15"/>
                      <a:pt x="26" y="4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23" y="44"/>
                      <a:pt x="38" y="54"/>
                      <a:pt x="51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8" name="Freeform 174"/>
              <p:cNvSpPr>
                <a:spLocks/>
              </p:cNvSpPr>
              <p:nvPr/>
            </p:nvSpPr>
            <p:spPr bwMode="black">
              <a:xfrm>
                <a:off x="8185150" y="2368550"/>
                <a:ext cx="57150" cy="49213"/>
              </a:xfrm>
              <a:custGeom>
                <a:avLst/>
                <a:gdLst>
                  <a:gd name="T0" fmla="*/ 52 w 77"/>
                  <a:gd name="T1" fmla="*/ 62 h 66"/>
                  <a:gd name="T2" fmla="*/ 58 w 77"/>
                  <a:gd name="T3" fmla="*/ 66 h 66"/>
                  <a:gd name="T4" fmla="*/ 77 w 77"/>
                  <a:gd name="T5" fmla="*/ 36 h 66"/>
                  <a:gd name="T6" fmla="*/ 70 w 77"/>
                  <a:gd name="T7" fmla="*/ 32 h 66"/>
                  <a:gd name="T8" fmla="*/ 24 w 77"/>
                  <a:gd name="T9" fmla="*/ 4 h 66"/>
                  <a:gd name="T10" fmla="*/ 18 w 77"/>
                  <a:gd name="T11" fmla="*/ 0 h 66"/>
                  <a:gd name="T12" fmla="*/ 0 w 77"/>
                  <a:gd name="T13" fmla="*/ 31 h 66"/>
                  <a:gd name="T14" fmla="*/ 6 w 77"/>
                  <a:gd name="T15" fmla="*/ 35 h 66"/>
                  <a:gd name="T16" fmla="*/ 52 w 77"/>
                  <a:gd name="T17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62"/>
                    </a:moveTo>
                    <a:cubicBezTo>
                      <a:pt x="58" y="66"/>
                      <a:pt x="58" y="66"/>
                      <a:pt x="58" y="6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0" y="32"/>
                      <a:pt x="70" y="32"/>
                      <a:pt x="70" y="32"/>
                    </a:cubicBezTo>
                    <a:cubicBezTo>
                      <a:pt x="56" y="23"/>
                      <a:pt x="41" y="14"/>
                      <a:pt x="24" y="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23" y="44"/>
                      <a:pt x="38" y="53"/>
                      <a:pt x="5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29" name="Freeform 175"/>
              <p:cNvSpPr>
                <a:spLocks/>
              </p:cNvSpPr>
              <p:nvPr/>
            </p:nvSpPr>
            <p:spPr bwMode="black">
              <a:xfrm>
                <a:off x="8356600" y="2528888"/>
                <a:ext cx="33338" cy="55563"/>
              </a:xfrm>
              <a:custGeom>
                <a:avLst/>
                <a:gdLst>
                  <a:gd name="T0" fmla="*/ 2 w 44"/>
                  <a:gd name="T1" fmla="*/ 15 h 73"/>
                  <a:gd name="T2" fmla="*/ 9 w 44"/>
                  <a:gd name="T3" fmla="*/ 65 h 73"/>
                  <a:gd name="T4" fmla="*/ 9 w 44"/>
                  <a:gd name="T5" fmla="*/ 73 h 73"/>
                  <a:gd name="T6" fmla="*/ 44 w 44"/>
                  <a:gd name="T7" fmla="*/ 70 h 73"/>
                  <a:gd name="T8" fmla="*/ 44 w 44"/>
                  <a:gd name="T9" fmla="*/ 62 h 73"/>
                  <a:gd name="T10" fmla="*/ 36 w 44"/>
                  <a:gd name="T11" fmla="*/ 7 h 73"/>
                  <a:gd name="T12" fmla="*/ 35 w 44"/>
                  <a:gd name="T13" fmla="*/ 0 h 73"/>
                  <a:gd name="T14" fmla="*/ 0 w 44"/>
                  <a:gd name="T15" fmla="*/ 7 h 73"/>
                  <a:gd name="T16" fmla="*/ 2 w 44"/>
                  <a:gd name="T17" fmla="*/ 1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73">
                    <a:moveTo>
                      <a:pt x="2" y="15"/>
                    </a:moveTo>
                    <a:cubicBezTo>
                      <a:pt x="5" y="29"/>
                      <a:pt x="7" y="46"/>
                      <a:pt x="9" y="65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42" y="42"/>
                      <a:pt x="39" y="24"/>
                      <a:pt x="36" y="7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7"/>
                      <a:pt x="0" y="7"/>
                      <a:pt x="0" y="7"/>
                    </a:cubicBezTo>
                    <a:lnTo>
                      <a:pt x="2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0" name="Freeform 176"/>
              <p:cNvSpPr>
                <a:spLocks/>
              </p:cNvSpPr>
              <p:nvPr/>
            </p:nvSpPr>
            <p:spPr bwMode="black">
              <a:xfrm>
                <a:off x="8316913" y="2457450"/>
                <a:ext cx="55563" cy="52388"/>
              </a:xfrm>
              <a:custGeom>
                <a:avLst/>
                <a:gdLst>
                  <a:gd name="T0" fmla="*/ 38 w 73"/>
                  <a:gd name="T1" fmla="*/ 65 h 71"/>
                  <a:gd name="T2" fmla="*/ 42 w 73"/>
                  <a:gd name="T3" fmla="*/ 71 h 71"/>
                  <a:gd name="T4" fmla="*/ 73 w 73"/>
                  <a:gd name="T5" fmla="*/ 55 h 71"/>
                  <a:gd name="T6" fmla="*/ 69 w 73"/>
                  <a:gd name="T7" fmla="*/ 48 h 71"/>
                  <a:gd name="T8" fmla="*/ 28 w 73"/>
                  <a:gd name="T9" fmla="*/ 5 h 71"/>
                  <a:gd name="T10" fmla="*/ 22 w 73"/>
                  <a:gd name="T11" fmla="*/ 0 h 71"/>
                  <a:gd name="T12" fmla="*/ 0 w 73"/>
                  <a:gd name="T13" fmla="*/ 28 h 71"/>
                  <a:gd name="T14" fmla="*/ 6 w 73"/>
                  <a:gd name="T15" fmla="*/ 33 h 71"/>
                  <a:gd name="T16" fmla="*/ 38 w 73"/>
                  <a:gd name="T17" fmla="*/ 6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71">
                    <a:moveTo>
                      <a:pt x="38" y="65"/>
                    </a:moveTo>
                    <a:cubicBezTo>
                      <a:pt x="42" y="71"/>
                      <a:pt x="42" y="71"/>
                      <a:pt x="42" y="71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69" y="48"/>
                      <a:pt x="69" y="48"/>
                      <a:pt x="69" y="48"/>
                    </a:cubicBezTo>
                    <a:cubicBezTo>
                      <a:pt x="63" y="36"/>
                      <a:pt x="50" y="23"/>
                      <a:pt x="28" y="5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30" y="52"/>
                      <a:pt x="37" y="62"/>
                      <a:pt x="38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1" name="Freeform 177"/>
              <p:cNvSpPr>
                <a:spLocks/>
              </p:cNvSpPr>
              <p:nvPr/>
            </p:nvSpPr>
            <p:spPr bwMode="black">
              <a:xfrm>
                <a:off x="8115300" y="2328863"/>
                <a:ext cx="58738" cy="47625"/>
              </a:xfrm>
              <a:custGeom>
                <a:avLst/>
                <a:gdLst>
                  <a:gd name="T0" fmla="*/ 52 w 77"/>
                  <a:gd name="T1" fmla="*/ 60 h 64"/>
                  <a:gd name="T2" fmla="*/ 59 w 77"/>
                  <a:gd name="T3" fmla="*/ 64 h 64"/>
                  <a:gd name="T4" fmla="*/ 77 w 77"/>
                  <a:gd name="T5" fmla="*/ 34 h 64"/>
                  <a:gd name="T6" fmla="*/ 70 w 77"/>
                  <a:gd name="T7" fmla="*/ 30 h 64"/>
                  <a:gd name="T8" fmla="*/ 24 w 77"/>
                  <a:gd name="T9" fmla="*/ 3 h 64"/>
                  <a:gd name="T10" fmla="*/ 17 w 77"/>
                  <a:gd name="T11" fmla="*/ 0 h 64"/>
                  <a:gd name="T12" fmla="*/ 0 w 77"/>
                  <a:gd name="T13" fmla="*/ 30 h 64"/>
                  <a:gd name="T14" fmla="*/ 6 w 77"/>
                  <a:gd name="T15" fmla="*/ 34 h 64"/>
                  <a:gd name="T16" fmla="*/ 52 w 77"/>
                  <a:gd name="T17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2" y="60"/>
                    </a:move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5" y="22"/>
                      <a:pt x="40" y="13"/>
                      <a:pt x="24" y="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2" y="43"/>
                      <a:pt x="38" y="52"/>
                      <a:pt x="52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2" name="Freeform 178"/>
              <p:cNvSpPr>
                <a:spLocks/>
              </p:cNvSpPr>
              <p:nvPr/>
            </p:nvSpPr>
            <p:spPr bwMode="black">
              <a:xfrm>
                <a:off x="7821613" y="2162175"/>
                <a:ext cx="58738" cy="49213"/>
              </a:xfrm>
              <a:custGeom>
                <a:avLst/>
                <a:gdLst>
                  <a:gd name="T0" fmla="*/ 52 w 77"/>
                  <a:gd name="T1" fmla="*/ 62 h 66"/>
                  <a:gd name="T2" fmla="*/ 59 w 77"/>
                  <a:gd name="T3" fmla="*/ 66 h 66"/>
                  <a:gd name="T4" fmla="*/ 77 w 77"/>
                  <a:gd name="T5" fmla="*/ 36 h 66"/>
                  <a:gd name="T6" fmla="*/ 71 w 77"/>
                  <a:gd name="T7" fmla="*/ 32 h 66"/>
                  <a:gd name="T8" fmla="*/ 24 w 77"/>
                  <a:gd name="T9" fmla="*/ 4 h 66"/>
                  <a:gd name="T10" fmla="*/ 18 w 77"/>
                  <a:gd name="T11" fmla="*/ 0 h 66"/>
                  <a:gd name="T12" fmla="*/ 0 w 77"/>
                  <a:gd name="T13" fmla="*/ 31 h 66"/>
                  <a:gd name="T14" fmla="*/ 7 w 77"/>
                  <a:gd name="T15" fmla="*/ 35 h 66"/>
                  <a:gd name="T16" fmla="*/ 52 w 77"/>
                  <a:gd name="T17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62"/>
                    </a:moveTo>
                    <a:cubicBezTo>
                      <a:pt x="59" y="66"/>
                      <a:pt x="59" y="66"/>
                      <a:pt x="59" y="6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1" y="32"/>
                      <a:pt x="71" y="32"/>
                      <a:pt x="71" y="32"/>
                    </a:cubicBezTo>
                    <a:cubicBezTo>
                      <a:pt x="54" y="21"/>
                      <a:pt x="39" y="12"/>
                      <a:pt x="24" y="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1" y="42"/>
                      <a:pt x="36" y="51"/>
                      <a:pt x="5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3" name="Freeform 179"/>
              <p:cNvSpPr>
                <a:spLocks/>
              </p:cNvSpPr>
              <p:nvPr/>
            </p:nvSpPr>
            <p:spPr bwMode="black">
              <a:xfrm>
                <a:off x="7754938" y="2133600"/>
                <a:ext cx="53975" cy="39688"/>
              </a:xfrm>
              <a:custGeom>
                <a:avLst/>
                <a:gdLst>
                  <a:gd name="T0" fmla="*/ 10 w 73"/>
                  <a:gd name="T1" fmla="*/ 35 h 52"/>
                  <a:gd name="T2" fmla="*/ 15 w 73"/>
                  <a:gd name="T3" fmla="*/ 35 h 52"/>
                  <a:gd name="T4" fmla="*/ 51 w 73"/>
                  <a:gd name="T5" fmla="*/ 48 h 52"/>
                  <a:gd name="T6" fmla="*/ 58 w 73"/>
                  <a:gd name="T7" fmla="*/ 52 h 52"/>
                  <a:gd name="T8" fmla="*/ 73 w 73"/>
                  <a:gd name="T9" fmla="*/ 20 h 52"/>
                  <a:gd name="T10" fmla="*/ 66 w 73"/>
                  <a:gd name="T11" fmla="*/ 17 h 52"/>
                  <a:gd name="T12" fmla="*/ 19 w 73"/>
                  <a:gd name="T13" fmla="*/ 0 h 52"/>
                  <a:gd name="T14" fmla="*/ 10 w 73"/>
                  <a:gd name="T15" fmla="*/ 0 h 52"/>
                  <a:gd name="T16" fmla="*/ 10 w 73"/>
                  <a:gd name="T17" fmla="*/ 0 h 52"/>
                  <a:gd name="T18" fmla="*/ 0 w 73"/>
                  <a:gd name="T19" fmla="*/ 0 h 52"/>
                  <a:gd name="T20" fmla="*/ 1 w 73"/>
                  <a:gd name="T21" fmla="*/ 35 h 52"/>
                  <a:gd name="T22" fmla="*/ 10 w 73"/>
                  <a:gd name="T23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2">
                    <a:moveTo>
                      <a:pt x="10" y="35"/>
                    </a:moveTo>
                    <a:cubicBezTo>
                      <a:pt x="11" y="35"/>
                      <a:pt x="13" y="35"/>
                      <a:pt x="15" y="35"/>
                    </a:cubicBezTo>
                    <a:cubicBezTo>
                      <a:pt x="19" y="36"/>
                      <a:pt x="30" y="38"/>
                      <a:pt x="51" y="48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46" y="7"/>
                      <a:pt x="31" y="2"/>
                      <a:pt x="19" y="0"/>
                    </a:cubicBezTo>
                    <a:cubicBezTo>
                      <a:pt x="16" y="0"/>
                      <a:pt x="13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35"/>
                      <a:pt x="1" y="35"/>
                      <a:pt x="1" y="35"/>
                    </a:cubicBezTo>
                    <a:lnTo>
                      <a:pt x="1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4" name="Freeform 180"/>
              <p:cNvSpPr>
                <a:spLocks/>
              </p:cNvSpPr>
              <p:nvPr/>
            </p:nvSpPr>
            <p:spPr bwMode="black">
              <a:xfrm>
                <a:off x="7677150" y="2144713"/>
                <a:ext cx="57150" cy="49213"/>
              </a:xfrm>
              <a:custGeom>
                <a:avLst/>
                <a:gdLst>
                  <a:gd name="T0" fmla="*/ 27 w 76"/>
                  <a:gd name="T1" fmla="*/ 61 h 66"/>
                  <a:gd name="T2" fmla="*/ 69 w 76"/>
                  <a:gd name="T3" fmla="*/ 35 h 66"/>
                  <a:gd name="T4" fmla="*/ 76 w 76"/>
                  <a:gd name="T5" fmla="*/ 31 h 66"/>
                  <a:gd name="T6" fmla="*/ 60 w 76"/>
                  <a:gd name="T7" fmla="*/ 0 h 66"/>
                  <a:gd name="T8" fmla="*/ 53 w 76"/>
                  <a:gd name="T9" fmla="*/ 3 h 66"/>
                  <a:gd name="T10" fmla="*/ 6 w 76"/>
                  <a:gd name="T11" fmla="*/ 33 h 66"/>
                  <a:gd name="T12" fmla="*/ 0 w 76"/>
                  <a:gd name="T13" fmla="*/ 38 h 66"/>
                  <a:gd name="T14" fmla="*/ 21 w 76"/>
                  <a:gd name="T15" fmla="*/ 66 h 66"/>
                  <a:gd name="T16" fmla="*/ 27 w 76"/>
                  <a:gd name="T17" fmla="*/ 6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6">
                    <a:moveTo>
                      <a:pt x="27" y="61"/>
                    </a:moveTo>
                    <a:cubicBezTo>
                      <a:pt x="37" y="54"/>
                      <a:pt x="52" y="43"/>
                      <a:pt x="69" y="35"/>
                    </a:cubicBezTo>
                    <a:cubicBezTo>
                      <a:pt x="76" y="31"/>
                      <a:pt x="76" y="31"/>
                      <a:pt x="76" y="3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34" y="13"/>
                      <a:pt x="17" y="25"/>
                      <a:pt x="6" y="33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1" y="66"/>
                      <a:pt x="21" y="66"/>
                      <a:pt x="21" y="66"/>
                    </a:cubicBezTo>
                    <a:lnTo>
                      <a:pt x="27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5" name="Freeform 181"/>
              <p:cNvSpPr>
                <a:spLocks/>
              </p:cNvSpPr>
              <p:nvPr/>
            </p:nvSpPr>
            <p:spPr bwMode="black">
              <a:xfrm>
                <a:off x="7026275" y="2797175"/>
                <a:ext cx="57150" cy="49213"/>
              </a:xfrm>
              <a:custGeom>
                <a:avLst/>
                <a:gdLst>
                  <a:gd name="T0" fmla="*/ 31 w 76"/>
                  <a:gd name="T1" fmla="*/ 5 h 67"/>
                  <a:gd name="T2" fmla="*/ 26 w 76"/>
                  <a:gd name="T3" fmla="*/ 0 h 67"/>
                  <a:gd name="T4" fmla="*/ 0 w 76"/>
                  <a:gd name="T5" fmla="*/ 23 h 67"/>
                  <a:gd name="T6" fmla="*/ 5 w 76"/>
                  <a:gd name="T7" fmla="*/ 29 h 67"/>
                  <a:gd name="T8" fmla="*/ 53 w 76"/>
                  <a:gd name="T9" fmla="*/ 64 h 67"/>
                  <a:gd name="T10" fmla="*/ 59 w 76"/>
                  <a:gd name="T11" fmla="*/ 67 h 67"/>
                  <a:gd name="T12" fmla="*/ 76 w 76"/>
                  <a:gd name="T13" fmla="*/ 36 h 67"/>
                  <a:gd name="T14" fmla="*/ 69 w 76"/>
                  <a:gd name="T15" fmla="*/ 33 h 67"/>
                  <a:gd name="T16" fmla="*/ 31 w 76"/>
                  <a:gd name="T17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7">
                    <a:moveTo>
                      <a:pt x="31" y="5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8" y="43"/>
                      <a:pt x="38" y="56"/>
                      <a:pt x="53" y="64"/>
                    </a:cubicBezTo>
                    <a:cubicBezTo>
                      <a:pt x="59" y="67"/>
                      <a:pt x="59" y="67"/>
                      <a:pt x="59" y="67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52" y="23"/>
                      <a:pt x="38" y="14"/>
                      <a:pt x="3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6" name="Freeform 182"/>
              <p:cNvSpPr>
                <a:spLocks/>
              </p:cNvSpPr>
              <p:nvPr/>
            </p:nvSpPr>
            <p:spPr bwMode="black">
              <a:xfrm>
                <a:off x="7975600" y="2251075"/>
                <a:ext cx="57150" cy="47625"/>
              </a:xfrm>
              <a:custGeom>
                <a:avLst/>
                <a:gdLst>
                  <a:gd name="T0" fmla="*/ 54 w 77"/>
                  <a:gd name="T1" fmla="*/ 60 h 64"/>
                  <a:gd name="T2" fmla="*/ 60 w 77"/>
                  <a:gd name="T3" fmla="*/ 64 h 64"/>
                  <a:gd name="T4" fmla="*/ 77 w 77"/>
                  <a:gd name="T5" fmla="*/ 33 h 64"/>
                  <a:gd name="T6" fmla="*/ 71 w 77"/>
                  <a:gd name="T7" fmla="*/ 29 h 64"/>
                  <a:gd name="T8" fmla="*/ 23 w 77"/>
                  <a:gd name="T9" fmla="*/ 4 h 64"/>
                  <a:gd name="T10" fmla="*/ 17 w 77"/>
                  <a:gd name="T11" fmla="*/ 0 h 64"/>
                  <a:gd name="T12" fmla="*/ 0 w 77"/>
                  <a:gd name="T13" fmla="*/ 31 h 64"/>
                  <a:gd name="T14" fmla="*/ 7 w 77"/>
                  <a:gd name="T15" fmla="*/ 35 h 64"/>
                  <a:gd name="T16" fmla="*/ 54 w 77"/>
                  <a:gd name="T17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4" y="60"/>
                    </a:moveTo>
                    <a:cubicBezTo>
                      <a:pt x="60" y="64"/>
                      <a:pt x="60" y="64"/>
                      <a:pt x="60" y="64"/>
                    </a:cubicBezTo>
                    <a:cubicBezTo>
                      <a:pt x="77" y="33"/>
                      <a:pt x="77" y="33"/>
                      <a:pt x="77" y="33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54" y="20"/>
                      <a:pt x="38" y="12"/>
                      <a:pt x="23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1" y="43"/>
                      <a:pt x="37" y="51"/>
                      <a:pt x="5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7" name="Freeform 183"/>
              <p:cNvSpPr>
                <a:spLocks/>
              </p:cNvSpPr>
              <p:nvPr/>
            </p:nvSpPr>
            <p:spPr bwMode="black">
              <a:xfrm>
                <a:off x="7889875" y="2203450"/>
                <a:ext cx="73025" cy="57150"/>
              </a:xfrm>
              <a:custGeom>
                <a:avLst/>
                <a:gdLst>
                  <a:gd name="T0" fmla="*/ 21 w 97"/>
                  <a:gd name="T1" fmla="*/ 44 h 76"/>
                  <a:gd name="T2" fmla="*/ 26 w 97"/>
                  <a:gd name="T3" fmla="*/ 47 h 76"/>
                  <a:gd name="T4" fmla="*/ 27 w 97"/>
                  <a:gd name="T5" fmla="*/ 48 h 76"/>
                  <a:gd name="T6" fmla="*/ 74 w 97"/>
                  <a:gd name="T7" fmla="*/ 73 h 76"/>
                  <a:gd name="T8" fmla="*/ 80 w 97"/>
                  <a:gd name="T9" fmla="*/ 76 h 76"/>
                  <a:gd name="T10" fmla="*/ 97 w 97"/>
                  <a:gd name="T11" fmla="*/ 45 h 76"/>
                  <a:gd name="T12" fmla="*/ 90 w 97"/>
                  <a:gd name="T13" fmla="*/ 41 h 76"/>
                  <a:gd name="T14" fmla="*/ 44 w 97"/>
                  <a:gd name="T15" fmla="*/ 17 h 76"/>
                  <a:gd name="T16" fmla="*/ 44 w 97"/>
                  <a:gd name="T17" fmla="*/ 17 h 76"/>
                  <a:gd name="T18" fmla="*/ 25 w 97"/>
                  <a:gd name="T19" fmla="*/ 5 h 76"/>
                  <a:gd name="T20" fmla="*/ 19 w 97"/>
                  <a:gd name="T21" fmla="*/ 0 h 76"/>
                  <a:gd name="T22" fmla="*/ 0 w 97"/>
                  <a:gd name="T23" fmla="*/ 30 h 76"/>
                  <a:gd name="T24" fmla="*/ 6 w 97"/>
                  <a:gd name="T25" fmla="*/ 34 h 76"/>
                  <a:gd name="T26" fmla="*/ 21 w 97"/>
                  <a:gd name="T27" fmla="*/ 4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7" h="76">
                    <a:moveTo>
                      <a:pt x="21" y="44"/>
                    </a:moveTo>
                    <a:cubicBezTo>
                      <a:pt x="24" y="46"/>
                      <a:pt x="26" y="47"/>
                      <a:pt x="26" y="47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9" y="49"/>
                      <a:pt x="46" y="58"/>
                      <a:pt x="74" y="73"/>
                    </a:cubicBezTo>
                    <a:cubicBezTo>
                      <a:pt x="80" y="76"/>
                      <a:pt x="80" y="76"/>
                      <a:pt x="80" y="76"/>
                    </a:cubicBezTo>
                    <a:cubicBezTo>
                      <a:pt x="97" y="45"/>
                      <a:pt x="97" y="45"/>
                      <a:pt x="97" y="45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60" y="26"/>
                      <a:pt x="49" y="20"/>
                      <a:pt x="44" y="17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4" y="17"/>
                      <a:pt x="37" y="12"/>
                      <a:pt x="25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12" y="38"/>
                      <a:pt x="18" y="42"/>
                      <a:pt x="21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8" name="Freeform 184"/>
              <p:cNvSpPr>
                <a:spLocks/>
              </p:cNvSpPr>
              <p:nvPr/>
            </p:nvSpPr>
            <p:spPr bwMode="black">
              <a:xfrm>
                <a:off x="7259638" y="2378075"/>
                <a:ext cx="57150" cy="47625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6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39" name="Freeform 185"/>
              <p:cNvSpPr>
                <a:spLocks/>
              </p:cNvSpPr>
              <p:nvPr/>
            </p:nvSpPr>
            <p:spPr bwMode="black">
              <a:xfrm>
                <a:off x="8091488" y="2879725"/>
                <a:ext cx="57150" cy="47625"/>
              </a:xfrm>
              <a:custGeom>
                <a:avLst/>
                <a:gdLst>
                  <a:gd name="T0" fmla="*/ 0 w 36"/>
                  <a:gd name="T1" fmla="*/ 16 h 30"/>
                  <a:gd name="T2" fmla="*/ 8 w 36"/>
                  <a:gd name="T3" fmla="*/ 30 h 30"/>
                  <a:gd name="T4" fmla="*/ 36 w 36"/>
                  <a:gd name="T5" fmla="*/ 14 h 30"/>
                  <a:gd name="T6" fmla="*/ 28 w 36"/>
                  <a:gd name="T7" fmla="*/ 0 h 30"/>
                  <a:gd name="T8" fmla="*/ 0 w 36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0" y="16"/>
                    </a:moveTo>
                    <a:lnTo>
                      <a:pt x="8" y="30"/>
                    </a:lnTo>
                    <a:lnTo>
                      <a:pt x="36" y="14"/>
                    </a:lnTo>
                    <a:lnTo>
                      <a:pt x="28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0" name="Freeform 186"/>
              <p:cNvSpPr>
                <a:spLocks/>
              </p:cNvSpPr>
              <p:nvPr/>
            </p:nvSpPr>
            <p:spPr bwMode="black">
              <a:xfrm>
                <a:off x="7953375" y="2960688"/>
                <a:ext cx="57150" cy="49213"/>
              </a:xfrm>
              <a:custGeom>
                <a:avLst/>
                <a:gdLst>
                  <a:gd name="T0" fmla="*/ 52 w 77"/>
                  <a:gd name="T1" fmla="*/ 4 h 66"/>
                  <a:gd name="T2" fmla="*/ 6 w 77"/>
                  <a:gd name="T3" fmla="*/ 32 h 66"/>
                  <a:gd name="T4" fmla="*/ 0 w 77"/>
                  <a:gd name="T5" fmla="*/ 36 h 66"/>
                  <a:gd name="T6" fmla="*/ 18 w 77"/>
                  <a:gd name="T7" fmla="*/ 66 h 66"/>
                  <a:gd name="T8" fmla="*/ 24 w 77"/>
                  <a:gd name="T9" fmla="*/ 62 h 66"/>
                  <a:gd name="T10" fmla="*/ 70 w 77"/>
                  <a:gd name="T11" fmla="*/ 34 h 66"/>
                  <a:gd name="T12" fmla="*/ 77 w 77"/>
                  <a:gd name="T13" fmla="*/ 31 h 66"/>
                  <a:gd name="T14" fmla="*/ 59 w 77"/>
                  <a:gd name="T15" fmla="*/ 0 h 66"/>
                  <a:gd name="T16" fmla="*/ 52 w 77"/>
                  <a:gd name="T17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4"/>
                    </a:moveTo>
                    <a:cubicBezTo>
                      <a:pt x="35" y="14"/>
                      <a:pt x="20" y="23"/>
                      <a:pt x="6" y="32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24" y="62"/>
                      <a:pt x="24" y="62"/>
                      <a:pt x="24" y="62"/>
                    </a:cubicBezTo>
                    <a:cubicBezTo>
                      <a:pt x="39" y="53"/>
                      <a:pt x="54" y="44"/>
                      <a:pt x="70" y="34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5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1" name="Freeform 187"/>
              <p:cNvSpPr>
                <a:spLocks/>
              </p:cNvSpPr>
              <p:nvPr/>
            </p:nvSpPr>
            <p:spPr bwMode="black">
              <a:xfrm>
                <a:off x="8021638" y="2919413"/>
                <a:ext cx="58738" cy="49213"/>
              </a:xfrm>
              <a:custGeom>
                <a:avLst/>
                <a:gdLst>
                  <a:gd name="T0" fmla="*/ 52 w 77"/>
                  <a:gd name="T1" fmla="*/ 4 h 65"/>
                  <a:gd name="T2" fmla="*/ 6 w 77"/>
                  <a:gd name="T3" fmla="*/ 31 h 65"/>
                  <a:gd name="T4" fmla="*/ 0 w 77"/>
                  <a:gd name="T5" fmla="*/ 35 h 65"/>
                  <a:gd name="T6" fmla="*/ 17 w 77"/>
                  <a:gd name="T7" fmla="*/ 65 h 65"/>
                  <a:gd name="T8" fmla="*/ 24 w 77"/>
                  <a:gd name="T9" fmla="*/ 61 h 65"/>
                  <a:gd name="T10" fmla="*/ 70 w 77"/>
                  <a:gd name="T11" fmla="*/ 34 h 65"/>
                  <a:gd name="T12" fmla="*/ 77 w 77"/>
                  <a:gd name="T13" fmla="*/ 31 h 65"/>
                  <a:gd name="T14" fmla="*/ 59 w 77"/>
                  <a:gd name="T15" fmla="*/ 0 h 65"/>
                  <a:gd name="T16" fmla="*/ 52 w 77"/>
                  <a:gd name="T1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5">
                    <a:moveTo>
                      <a:pt x="52" y="4"/>
                    </a:moveTo>
                    <a:cubicBezTo>
                      <a:pt x="37" y="13"/>
                      <a:pt x="21" y="22"/>
                      <a:pt x="6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39" y="52"/>
                      <a:pt x="55" y="44"/>
                      <a:pt x="70" y="34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5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2" name="Freeform 188"/>
              <p:cNvSpPr>
                <a:spLocks/>
              </p:cNvSpPr>
              <p:nvPr/>
            </p:nvSpPr>
            <p:spPr bwMode="black">
              <a:xfrm>
                <a:off x="7821613" y="3046413"/>
                <a:ext cx="53975" cy="53975"/>
              </a:xfrm>
              <a:custGeom>
                <a:avLst/>
                <a:gdLst>
                  <a:gd name="T0" fmla="*/ 45 w 72"/>
                  <a:gd name="T1" fmla="*/ 5 h 72"/>
                  <a:gd name="T2" fmla="*/ 10 w 72"/>
                  <a:gd name="T3" fmla="*/ 38 h 72"/>
                  <a:gd name="T4" fmla="*/ 4 w 72"/>
                  <a:gd name="T5" fmla="*/ 48 h 72"/>
                  <a:gd name="T6" fmla="*/ 0 w 72"/>
                  <a:gd name="T7" fmla="*/ 54 h 72"/>
                  <a:gd name="T8" fmla="*/ 30 w 72"/>
                  <a:gd name="T9" fmla="*/ 72 h 72"/>
                  <a:gd name="T10" fmla="*/ 34 w 72"/>
                  <a:gd name="T11" fmla="*/ 66 h 72"/>
                  <a:gd name="T12" fmla="*/ 39 w 72"/>
                  <a:gd name="T13" fmla="*/ 57 h 72"/>
                  <a:gd name="T14" fmla="*/ 66 w 72"/>
                  <a:gd name="T15" fmla="*/ 33 h 72"/>
                  <a:gd name="T16" fmla="*/ 72 w 72"/>
                  <a:gd name="T17" fmla="*/ 28 h 72"/>
                  <a:gd name="T18" fmla="*/ 51 w 72"/>
                  <a:gd name="T19" fmla="*/ 0 h 72"/>
                  <a:gd name="T20" fmla="*/ 45 w 72"/>
                  <a:gd name="T21" fmla="*/ 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2">
                    <a:moveTo>
                      <a:pt x="45" y="5"/>
                    </a:moveTo>
                    <a:cubicBezTo>
                      <a:pt x="26" y="19"/>
                      <a:pt x="15" y="29"/>
                      <a:pt x="10" y="38"/>
                    </a:cubicBezTo>
                    <a:cubicBezTo>
                      <a:pt x="8" y="41"/>
                      <a:pt x="6" y="44"/>
                      <a:pt x="4" y="48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4" y="66"/>
                      <a:pt x="34" y="66"/>
                      <a:pt x="34" y="66"/>
                    </a:cubicBezTo>
                    <a:cubicBezTo>
                      <a:pt x="36" y="63"/>
                      <a:pt x="37" y="60"/>
                      <a:pt x="39" y="57"/>
                    </a:cubicBezTo>
                    <a:cubicBezTo>
                      <a:pt x="40" y="55"/>
                      <a:pt x="45" y="49"/>
                      <a:pt x="66" y="33"/>
                    </a:cubicBezTo>
                    <a:cubicBezTo>
                      <a:pt x="72" y="28"/>
                      <a:pt x="72" y="28"/>
                      <a:pt x="72" y="28"/>
                    </a:cubicBezTo>
                    <a:cubicBezTo>
                      <a:pt x="51" y="0"/>
                      <a:pt x="51" y="0"/>
                      <a:pt x="51" y="0"/>
                    </a:cubicBezTo>
                    <a:lnTo>
                      <a:pt x="4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3" name="Freeform 189"/>
              <p:cNvSpPr>
                <a:spLocks/>
              </p:cNvSpPr>
              <p:nvPr/>
            </p:nvSpPr>
            <p:spPr bwMode="black">
              <a:xfrm>
                <a:off x="7885113" y="3001963"/>
                <a:ext cx="57150" cy="49213"/>
              </a:xfrm>
              <a:custGeom>
                <a:avLst/>
                <a:gdLst>
                  <a:gd name="T0" fmla="*/ 51 w 77"/>
                  <a:gd name="T1" fmla="*/ 4 h 66"/>
                  <a:gd name="T2" fmla="*/ 6 w 77"/>
                  <a:gd name="T3" fmla="*/ 33 h 66"/>
                  <a:gd name="T4" fmla="*/ 0 w 77"/>
                  <a:gd name="T5" fmla="*/ 37 h 66"/>
                  <a:gd name="T6" fmla="*/ 19 w 77"/>
                  <a:gd name="T7" fmla="*/ 66 h 66"/>
                  <a:gd name="T8" fmla="*/ 25 w 77"/>
                  <a:gd name="T9" fmla="*/ 62 h 66"/>
                  <a:gd name="T10" fmla="*/ 70 w 77"/>
                  <a:gd name="T11" fmla="*/ 34 h 66"/>
                  <a:gd name="T12" fmla="*/ 77 w 77"/>
                  <a:gd name="T13" fmla="*/ 30 h 66"/>
                  <a:gd name="T14" fmla="*/ 58 w 77"/>
                  <a:gd name="T15" fmla="*/ 0 h 66"/>
                  <a:gd name="T16" fmla="*/ 51 w 77"/>
                  <a:gd name="T17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1" y="4"/>
                    </a:moveTo>
                    <a:cubicBezTo>
                      <a:pt x="35" y="14"/>
                      <a:pt x="19" y="24"/>
                      <a:pt x="6" y="33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39" y="53"/>
                      <a:pt x="54" y="44"/>
                      <a:pt x="70" y="34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5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4" name="Freeform 190"/>
              <p:cNvSpPr>
                <a:spLocks/>
              </p:cNvSpPr>
              <p:nvPr/>
            </p:nvSpPr>
            <p:spPr bwMode="black">
              <a:xfrm>
                <a:off x="8159750" y="2840038"/>
                <a:ext cx="58738" cy="47625"/>
              </a:xfrm>
              <a:custGeom>
                <a:avLst/>
                <a:gdLst>
                  <a:gd name="T0" fmla="*/ 0 w 37"/>
                  <a:gd name="T1" fmla="*/ 16 h 30"/>
                  <a:gd name="T2" fmla="*/ 9 w 37"/>
                  <a:gd name="T3" fmla="*/ 30 h 30"/>
                  <a:gd name="T4" fmla="*/ 37 w 37"/>
                  <a:gd name="T5" fmla="*/ 14 h 30"/>
                  <a:gd name="T6" fmla="*/ 28 w 37"/>
                  <a:gd name="T7" fmla="*/ 0 h 30"/>
                  <a:gd name="T8" fmla="*/ 0 w 37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0" y="16"/>
                    </a:moveTo>
                    <a:lnTo>
                      <a:pt x="9" y="30"/>
                    </a:lnTo>
                    <a:lnTo>
                      <a:pt x="37" y="14"/>
                    </a:lnTo>
                    <a:lnTo>
                      <a:pt x="28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5" name="Freeform 191"/>
              <p:cNvSpPr>
                <a:spLocks/>
              </p:cNvSpPr>
              <p:nvPr/>
            </p:nvSpPr>
            <p:spPr bwMode="black">
              <a:xfrm>
                <a:off x="7038975" y="2435225"/>
                <a:ext cx="58738" cy="39688"/>
              </a:xfrm>
              <a:custGeom>
                <a:avLst/>
                <a:gdLst>
                  <a:gd name="T0" fmla="*/ 27 w 77"/>
                  <a:gd name="T1" fmla="*/ 5 h 53"/>
                  <a:gd name="T2" fmla="*/ 5 w 77"/>
                  <a:gd name="T3" fmla="*/ 24 h 53"/>
                  <a:gd name="T4" fmla="*/ 0 w 77"/>
                  <a:gd name="T5" fmla="*/ 30 h 53"/>
                  <a:gd name="T6" fmla="*/ 26 w 77"/>
                  <a:gd name="T7" fmla="*/ 53 h 53"/>
                  <a:gd name="T8" fmla="*/ 31 w 77"/>
                  <a:gd name="T9" fmla="*/ 47 h 53"/>
                  <a:gd name="T10" fmla="*/ 43 w 77"/>
                  <a:gd name="T11" fmla="*/ 37 h 53"/>
                  <a:gd name="T12" fmla="*/ 61 w 77"/>
                  <a:gd name="T13" fmla="*/ 39 h 53"/>
                  <a:gd name="T14" fmla="*/ 68 w 77"/>
                  <a:gd name="T15" fmla="*/ 41 h 53"/>
                  <a:gd name="T16" fmla="*/ 77 w 77"/>
                  <a:gd name="T17" fmla="*/ 8 h 53"/>
                  <a:gd name="T18" fmla="*/ 70 w 77"/>
                  <a:gd name="T19" fmla="*/ 6 h 53"/>
                  <a:gd name="T20" fmla="*/ 27 w 77"/>
                  <a:gd name="T21" fmla="*/ 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53">
                    <a:moveTo>
                      <a:pt x="27" y="5"/>
                    </a:moveTo>
                    <a:cubicBezTo>
                      <a:pt x="20" y="9"/>
                      <a:pt x="12" y="15"/>
                      <a:pt x="5" y="2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26" y="53"/>
                      <a:pt x="26" y="53"/>
                      <a:pt x="26" y="53"/>
                    </a:cubicBezTo>
                    <a:cubicBezTo>
                      <a:pt x="31" y="47"/>
                      <a:pt x="31" y="47"/>
                      <a:pt x="31" y="47"/>
                    </a:cubicBezTo>
                    <a:cubicBezTo>
                      <a:pt x="35" y="42"/>
                      <a:pt x="40" y="39"/>
                      <a:pt x="43" y="37"/>
                    </a:cubicBezTo>
                    <a:cubicBezTo>
                      <a:pt x="43" y="37"/>
                      <a:pt x="46" y="35"/>
                      <a:pt x="61" y="39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51" y="0"/>
                      <a:pt x="38" y="0"/>
                      <a:pt x="2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6" name="Freeform 192"/>
              <p:cNvSpPr>
                <a:spLocks/>
              </p:cNvSpPr>
              <p:nvPr/>
            </p:nvSpPr>
            <p:spPr bwMode="black">
              <a:xfrm>
                <a:off x="8348663" y="2689225"/>
                <a:ext cx="36513" cy="55563"/>
              </a:xfrm>
              <a:custGeom>
                <a:avLst/>
                <a:gdLst>
                  <a:gd name="T0" fmla="*/ 13 w 49"/>
                  <a:gd name="T1" fmla="*/ 7 h 75"/>
                  <a:gd name="T2" fmla="*/ 2 w 49"/>
                  <a:gd name="T3" fmla="*/ 57 h 75"/>
                  <a:gd name="T4" fmla="*/ 0 w 49"/>
                  <a:gd name="T5" fmla="*/ 64 h 75"/>
                  <a:gd name="T6" fmla="*/ 34 w 49"/>
                  <a:gd name="T7" fmla="*/ 75 h 75"/>
                  <a:gd name="T8" fmla="*/ 36 w 49"/>
                  <a:gd name="T9" fmla="*/ 67 h 75"/>
                  <a:gd name="T10" fmla="*/ 48 w 49"/>
                  <a:gd name="T11" fmla="*/ 13 h 75"/>
                  <a:gd name="T12" fmla="*/ 49 w 49"/>
                  <a:gd name="T13" fmla="*/ 5 h 75"/>
                  <a:gd name="T14" fmla="*/ 15 w 49"/>
                  <a:gd name="T15" fmla="*/ 0 h 75"/>
                  <a:gd name="T16" fmla="*/ 13 w 49"/>
                  <a:gd name="T17" fmla="*/ 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75">
                    <a:moveTo>
                      <a:pt x="13" y="7"/>
                    </a:moveTo>
                    <a:cubicBezTo>
                      <a:pt x="10" y="26"/>
                      <a:pt x="7" y="43"/>
                      <a:pt x="2" y="57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41" y="52"/>
                      <a:pt x="45" y="34"/>
                      <a:pt x="48" y="13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15" y="0"/>
                      <a:pt x="15" y="0"/>
                      <a:pt x="15" y="0"/>
                    </a:cubicBezTo>
                    <a:lnTo>
                      <a:pt x="13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7" name="Freeform 193"/>
              <p:cNvSpPr>
                <a:spLocks/>
              </p:cNvSpPr>
              <p:nvPr/>
            </p:nvSpPr>
            <p:spPr bwMode="black">
              <a:xfrm>
                <a:off x="8362950" y="2611438"/>
                <a:ext cx="26988" cy="52388"/>
              </a:xfrm>
              <a:custGeom>
                <a:avLst/>
                <a:gdLst>
                  <a:gd name="T0" fmla="*/ 2 w 38"/>
                  <a:gd name="T1" fmla="*/ 0 h 70"/>
                  <a:gd name="T2" fmla="*/ 2 w 38"/>
                  <a:gd name="T3" fmla="*/ 8 h 70"/>
                  <a:gd name="T4" fmla="*/ 0 w 38"/>
                  <a:gd name="T5" fmla="*/ 60 h 70"/>
                  <a:gd name="T6" fmla="*/ 0 w 38"/>
                  <a:gd name="T7" fmla="*/ 67 h 70"/>
                  <a:gd name="T8" fmla="*/ 35 w 38"/>
                  <a:gd name="T9" fmla="*/ 70 h 70"/>
                  <a:gd name="T10" fmla="*/ 35 w 38"/>
                  <a:gd name="T11" fmla="*/ 62 h 70"/>
                  <a:gd name="T12" fmla="*/ 38 w 38"/>
                  <a:gd name="T13" fmla="*/ 8 h 70"/>
                  <a:gd name="T14" fmla="*/ 38 w 38"/>
                  <a:gd name="T15" fmla="*/ 0 h 70"/>
                  <a:gd name="T16" fmla="*/ 2 w 38"/>
                  <a:gd name="T17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70">
                    <a:moveTo>
                      <a:pt x="2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2" y="25"/>
                      <a:pt x="2" y="43"/>
                      <a:pt x="0" y="60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7" y="44"/>
                      <a:pt x="38" y="26"/>
                      <a:pt x="38" y="8"/>
                    </a:cubicBezTo>
                    <a:cubicBezTo>
                      <a:pt x="38" y="0"/>
                      <a:pt x="38" y="0"/>
                      <a:pt x="38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8" name="Freeform 194"/>
              <p:cNvSpPr>
                <a:spLocks/>
              </p:cNvSpPr>
              <p:nvPr/>
            </p:nvSpPr>
            <p:spPr bwMode="black">
              <a:xfrm>
                <a:off x="7783513" y="3113088"/>
                <a:ext cx="47625" cy="57150"/>
              </a:xfrm>
              <a:custGeom>
                <a:avLst/>
                <a:gdLst>
                  <a:gd name="T0" fmla="*/ 32 w 63"/>
                  <a:gd name="T1" fmla="*/ 0 h 76"/>
                  <a:gd name="T2" fmla="*/ 29 w 63"/>
                  <a:gd name="T3" fmla="*/ 7 h 76"/>
                  <a:gd name="T4" fmla="*/ 5 w 63"/>
                  <a:gd name="T5" fmla="*/ 50 h 76"/>
                  <a:gd name="T6" fmla="*/ 0 w 63"/>
                  <a:gd name="T7" fmla="*/ 57 h 76"/>
                  <a:gd name="T8" fmla="*/ 30 w 63"/>
                  <a:gd name="T9" fmla="*/ 76 h 76"/>
                  <a:gd name="T10" fmla="*/ 34 w 63"/>
                  <a:gd name="T11" fmla="*/ 70 h 76"/>
                  <a:gd name="T12" fmla="*/ 60 w 63"/>
                  <a:gd name="T13" fmla="*/ 22 h 76"/>
                  <a:gd name="T14" fmla="*/ 63 w 63"/>
                  <a:gd name="T15" fmla="*/ 16 h 76"/>
                  <a:gd name="T16" fmla="*/ 49 w 63"/>
                  <a:gd name="T17" fmla="*/ 7 h 76"/>
                  <a:gd name="T18" fmla="*/ 32 w 63"/>
                  <a:gd name="T1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3" h="76">
                    <a:moveTo>
                      <a:pt x="32" y="0"/>
                    </a:moveTo>
                    <a:cubicBezTo>
                      <a:pt x="29" y="7"/>
                      <a:pt x="29" y="7"/>
                      <a:pt x="29" y="7"/>
                    </a:cubicBezTo>
                    <a:cubicBezTo>
                      <a:pt x="20" y="23"/>
                      <a:pt x="13" y="38"/>
                      <a:pt x="5" y="50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43" y="56"/>
                      <a:pt x="51" y="40"/>
                      <a:pt x="60" y="22"/>
                    </a:cubicBezTo>
                    <a:cubicBezTo>
                      <a:pt x="63" y="16"/>
                      <a:pt x="63" y="16"/>
                      <a:pt x="63" y="16"/>
                    </a:cubicBezTo>
                    <a:cubicBezTo>
                      <a:pt x="49" y="7"/>
                      <a:pt x="49" y="7"/>
                      <a:pt x="49" y="7"/>
                    </a:cubicBez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9" name="Freeform 195"/>
              <p:cNvSpPr>
                <a:spLocks/>
              </p:cNvSpPr>
              <p:nvPr/>
            </p:nvSpPr>
            <p:spPr bwMode="black">
              <a:xfrm>
                <a:off x="8229600" y="2798763"/>
                <a:ext cx="57150" cy="49213"/>
              </a:xfrm>
              <a:custGeom>
                <a:avLst/>
                <a:gdLst>
                  <a:gd name="T0" fmla="*/ 52 w 76"/>
                  <a:gd name="T1" fmla="*/ 3 h 65"/>
                  <a:gd name="T2" fmla="*/ 6 w 76"/>
                  <a:gd name="T3" fmla="*/ 31 h 65"/>
                  <a:gd name="T4" fmla="*/ 0 w 76"/>
                  <a:gd name="T5" fmla="*/ 35 h 65"/>
                  <a:gd name="T6" fmla="*/ 17 w 76"/>
                  <a:gd name="T7" fmla="*/ 65 h 65"/>
                  <a:gd name="T8" fmla="*/ 24 w 76"/>
                  <a:gd name="T9" fmla="*/ 61 h 65"/>
                  <a:gd name="T10" fmla="*/ 70 w 76"/>
                  <a:gd name="T11" fmla="*/ 33 h 65"/>
                  <a:gd name="T12" fmla="*/ 76 w 76"/>
                  <a:gd name="T13" fmla="*/ 30 h 65"/>
                  <a:gd name="T14" fmla="*/ 58 w 76"/>
                  <a:gd name="T15" fmla="*/ 0 h 65"/>
                  <a:gd name="T16" fmla="*/ 52 w 76"/>
                  <a:gd name="T17" fmla="*/ 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5">
                    <a:moveTo>
                      <a:pt x="52" y="3"/>
                    </a:moveTo>
                    <a:cubicBezTo>
                      <a:pt x="38" y="12"/>
                      <a:pt x="22" y="21"/>
                      <a:pt x="6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41" y="51"/>
                      <a:pt x="56" y="42"/>
                      <a:pt x="70" y="33"/>
                    </a:cubicBezTo>
                    <a:cubicBezTo>
                      <a:pt x="76" y="30"/>
                      <a:pt x="76" y="30"/>
                      <a:pt x="76" y="3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5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0" name="Freeform 196"/>
              <p:cNvSpPr>
                <a:spLocks/>
              </p:cNvSpPr>
              <p:nvPr/>
            </p:nvSpPr>
            <p:spPr bwMode="black">
              <a:xfrm>
                <a:off x="8297863" y="2754313"/>
                <a:ext cx="57150" cy="50800"/>
              </a:xfrm>
              <a:custGeom>
                <a:avLst/>
                <a:gdLst>
                  <a:gd name="T0" fmla="*/ 49 w 77"/>
                  <a:gd name="T1" fmla="*/ 5 h 68"/>
                  <a:gd name="T2" fmla="*/ 7 w 77"/>
                  <a:gd name="T3" fmla="*/ 34 h 68"/>
                  <a:gd name="T4" fmla="*/ 0 w 77"/>
                  <a:gd name="T5" fmla="*/ 39 h 68"/>
                  <a:gd name="T6" fmla="*/ 19 w 77"/>
                  <a:gd name="T7" fmla="*/ 68 h 68"/>
                  <a:gd name="T8" fmla="*/ 26 w 77"/>
                  <a:gd name="T9" fmla="*/ 64 h 68"/>
                  <a:gd name="T10" fmla="*/ 71 w 77"/>
                  <a:gd name="T11" fmla="*/ 33 h 68"/>
                  <a:gd name="T12" fmla="*/ 77 w 77"/>
                  <a:gd name="T13" fmla="*/ 28 h 68"/>
                  <a:gd name="T14" fmla="*/ 55 w 77"/>
                  <a:gd name="T15" fmla="*/ 0 h 68"/>
                  <a:gd name="T16" fmla="*/ 49 w 77"/>
                  <a:gd name="T17" fmla="*/ 5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8">
                    <a:moveTo>
                      <a:pt x="49" y="5"/>
                    </a:moveTo>
                    <a:cubicBezTo>
                      <a:pt x="40" y="12"/>
                      <a:pt x="26" y="22"/>
                      <a:pt x="7" y="3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46" y="51"/>
                      <a:pt x="61" y="41"/>
                      <a:pt x="71" y="33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49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1" name="Freeform 197"/>
              <p:cNvSpPr>
                <a:spLocks/>
              </p:cNvSpPr>
              <p:nvPr/>
            </p:nvSpPr>
            <p:spPr bwMode="black">
              <a:xfrm>
                <a:off x="7313613" y="2935288"/>
                <a:ext cx="57150" cy="49213"/>
              </a:xfrm>
              <a:custGeom>
                <a:avLst/>
                <a:gdLst>
                  <a:gd name="T0" fmla="*/ 24 w 77"/>
                  <a:gd name="T1" fmla="*/ 4 h 65"/>
                  <a:gd name="T2" fmla="*/ 18 w 77"/>
                  <a:gd name="T3" fmla="*/ 0 h 65"/>
                  <a:gd name="T4" fmla="*/ 0 w 77"/>
                  <a:gd name="T5" fmla="*/ 30 h 65"/>
                  <a:gd name="T6" fmla="*/ 7 w 77"/>
                  <a:gd name="T7" fmla="*/ 34 h 65"/>
                  <a:gd name="T8" fmla="*/ 53 w 77"/>
                  <a:gd name="T9" fmla="*/ 61 h 65"/>
                  <a:gd name="T10" fmla="*/ 59 w 77"/>
                  <a:gd name="T11" fmla="*/ 65 h 65"/>
                  <a:gd name="T12" fmla="*/ 77 w 77"/>
                  <a:gd name="T13" fmla="*/ 34 h 65"/>
                  <a:gd name="T14" fmla="*/ 71 w 77"/>
                  <a:gd name="T15" fmla="*/ 31 h 65"/>
                  <a:gd name="T16" fmla="*/ 24 w 77"/>
                  <a:gd name="T1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5">
                    <a:moveTo>
                      <a:pt x="24" y="4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22" y="43"/>
                      <a:pt x="37" y="52"/>
                      <a:pt x="53" y="61"/>
                    </a:cubicBezTo>
                    <a:cubicBezTo>
                      <a:pt x="59" y="65"/>
                      <a:pt x="59" y="65"/>
                      <a:pt x="59" y="65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1" y="31"/>
                      <a:pt x="71" y="31"/>
                      <a:pt x="71" y="31"/>
                    </a:cubicBezTo>
                    <a:cubicBezTo>
                      <a:pt x="55" y="22"/>
                      <a:pt x="40" y="13"/>
                      <a:pt x="2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2" name="Freeform 198"/>
              <p:cNvSpPr>
                <a:spLocks/>
              </p:cNvSpPr>
              <p:nvPr/>
            </p:nvSpPr>
            <p:spPr bwMode="black">
              <a:xfrm>
                <a:off x="7381875" y="2974975"/>
                <a:ext cx="57150" cy="49213"/>
              </a:xfrm>
              <a:custGeom>
                <a:avLst/>
                <a:gdLst>
                  <a:gd name="T0" fmla="*/ 0 w 36"/>
                  <a:gd name="T1" fmla="*/ 15 h 31"/>
                  <a:gd name="T2" fmla="*/ 28 w 36"/>
                  <a:gd name="T3" fmla="*/ 31 h 31"/>
                  <a:gd name="T4" fmla="*/ 36 w 36"/>
                  <a:gd name="T5" fmla="*/ 17 h 31"/>
                  <a:gd name="T6" fmla="*/ 8 w 36"/>
                  <a:gd name="T7" fmla="*/ 0 h 31"/>
                  <a:gd name="T8" fmla="*/ 0 w 3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1">
                    <a:moveTo>
                      <a:pt x="0" y="15"/>
                    </a:moveTo>
                    <a:lnTo>
                      <a:pt x="28" y="31"/>
                    </a:lnTo>
                    <a:lnTo>
                      <a:pt x="36" y="17"/>
                    </a:lnTo>
                    <a:lnTo>
                      <a:pt x="8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3" name="Freeform 199"/>
              <p:cNvSpPr>
                <a:spLocks/>
              </p:cNvSpPr>
              <p:nvPr/>
            </p:nvSpPr>
            <p:spPr bwMode="black">
              <a:xfrm>
                <a:off x="7243763" y="2895600"/>
                <a:ext cx="58738" cy="47625"/>
              </a:xfrm>
              <a:custGeom>
                <a:avLst/>
                <a:gdLst>
                  <a:gd name="T0" fmla="*/ 24 w 77"/>
                  <a:gd name="T1" fmla="*/ 4 h 64"/>
                  <a:gd name="T2" fmla="*/ 17 w 77"/>
                  <a:gd name="T3" fmla="*/ 0 h 64"/>
                  <a:gd name="T4" fmla="*/ 0 w 77"/>
                  <a:gd name="T5" fmla="*/ 31 h 64"/>
                  <a:gd name="T6" fmla="*/ 6 w 77"/>
                  <a:gd name="T7" fmla="*/ 34 h 64"/>
                  <a:gd name="T8" fmla="*/ 53 w 77"/>
                  <a:gd name="T9" fmla="*/ 61 h 64"/>
                  <a:gd name="T10" fmla="*/ 59 w 77"/>
                  <a:gd name="T11" fmla="*/ 64 h 64"/>
                  <a:gd name="T12" fmla="*/ 77 w 77"/>
                  <a:gd name="T13" fmla="*/ 34 h 64"/>
                  <a:gd name="T14" fmla="*/ 70 w 77"/>
                  <a:gd name="T15" fmla="*/ 30 h 64"/>
                  <a:gd name="T16" fmla="*/ 24 w 77"/>
                  <a:gd name="T17" fmla="*/ 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24" y="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1" y="42"/>
                      <a:pt x="36" y="51"/>
                      <a:pt x="53" y="61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3" y="20"/>
                      <a:pt x="38" y="12"/>
                      <a:pt x="2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4" name="Freeform 200"/>
              <p:cNvSpPr>
                <a:spLocks/>
              </p:cNvSpPr>
              <p:nvPr/>
            </p:nvSpPr>
            <p:spPr bwMode="black">
              <a:xfrm>
                <a:off x="7173913" y="2857500"/>
                <a:ext cx="57150" cy="47625"/>
              </a:xfrm>
              <a:custGeom>
                <a:avLst/>
                <a:gdLst>
                  <a:gd name="T0" fmla="*/ 23 w 77"/>
                  <a:gd name="T1" fmla="*/ 3 h 63"/>
                  <a:gd name="T2" fmla="*/ 16 w 77"/>
                  <a:gd name="T3" fmla="*/ 0 h 63"/>
                  <a:gd name="T4" fmla="*/ 0 w 77"/>
                  <a:gd name="T5" fmla="*/ 31 h 63"/>
                  <a:gd name="T6" fmla="*/ 7 w 77"/>
                  <a:gd name="T7" fmla="*/ 35 h 63"/>
                  <a:gd name="T8" fmla="*/ 54 w 77"/>
                  <a:gd name="T9" fmla="*/ 59 h 63"/>
                  <a:gd name="T10" fmla="*/ 60 w 77"/>
                  <a:gd name="T11" fmla="*/ 63 h 63"/>
                  <a:gd name="T12" fmla="*/ 77 w 77"/>
                  <a:gd name="T13" fmla="*/ 32 h 63"/>
                  <a:gd name="T14" fmla="*/ 71 w 77"/>
                  <a:gd name="T15" fmla="*/ 29 h 63"/>
                  <a:gd name="T16" fmla="*/ 23 w 77"/>
                  <a:gd name="T17" fmla="*/ 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3">
                    <a:moveTo>
                      <a:pt x="23" y="3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0" y="41"/>
                      <a:pt x="36" y="50"/>
                      <a:pt x="54" y="59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77" y="32"/>
                      <a:pt x="77" y="32"/>
                      <a:pt x="77" y="32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52" y="18"/>
                      <a:pt x="36" y="10"/>
                      <a:pt x="2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5" name="Freeform 201"/>
              <p:cNvSpPr>
                <a:spLocks/>
              </p:cNvSpPr>
              <p:nvPr/>
            </p:nvSpPr>
            <p:spPr bwMode="black">
              <a:xfrm>
                <a:off x="7099300" y="2835275"/>
                <a:ext cx="57150" cy="34925"/>
              </a:xfrm>
              <a:custGeom>
                <a:avLst/>
                <a:gdLst>
                  <a:gd name="T0" fmla="*/ 60 w 76"/>
                  <a:gd name="T1" fmla="*/ 10 h 47"/>
                  <a:gd name="T2" fmla="*/ 58 w 76"/>
                  <a:gd name="T3" fmla="*/ 10 h 47"/>
                  <a:gd name="T4" fmla="*/ 18 w 76"/>
                  <a:gd name="T5" fmla="*/ 2 h 47"/>
                  <a:gd name="T6" fmla="*/ 11 w 76"/>
                  <a:gd name="T7" fmla="*/ 0 h 47"/>
                  <a:gd name="T8" fmla="*/ 0 w 76"/>
                  <a:gd name="T9" fmla="*/ 33 h 47"/>
                  <a:gd name="T10" fmla="*/ 7 w 76"/>
                  <a:gd name="T11" fmla="*/ 35 h 47"/>
                  <a:gd name="T12" fmla="*/ 55 w 76"/>
                  <a:gd name="T13" fmla="*/ 45 h 47"/>
                  <a:gd name="T14" fmla="*/ 60 w 76"/>
                  <a:gd name="T15" fmla="*/ 45 h 47"/>
                  <a:gd name="T16" fmla="*/ 61 w 76"/>
                  <a:gd name="T17" fmla="*/ 45 h 47"/>
                  <a:gd name="T18" fmla="*/ 68 w 76"/>
                  <a:gd name="T19" fmla="*/ 47 h 47"/>
                  <a:gd name="T20" fmla="*/ 76 w 76"/>
                  <a:gd name="T21" fmla="*/ 13 h 47"/>
                  <a:gd name="T22" fmla="*/ 69 w 76"/>
                  <a:gd name="T23" fmla="*/ 11 h 47"/>
                  <a:gd name="T24" fmla="*/ 60 w 76"/>
                  <a:gd name="T25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47">
                    <a:moveTo>
                      <a:pt x="60" y="10"/>
                    </a:moveTo>
                    <a:cubicBezTo>
                      <a:pt x="58" y="10"/>
                      <a:pt x="58" y="10"/>
                      <a:pt x="58" y="10"/>
                    </a:cubicBezTo>
                    <a:cubicBezTo>
                      <a:pt x="49" y="11"/>
                      <a:pt x="35" y="8"/>
                      <a:pt x="18" y="2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0" y="40"/>
                      <a:pt x="39" y="45"/>
                      <a:pt x="55" y="45"/>
                    </a:cubicBezTo>
                    <a:cubicBezTo>
                      <a:pt x="57" y="45"/>
                      <a:pt x="59" y="45"/>
                      <a:pt x="60" y="45"/>
                    </a:cubicBezTo>
                    <a:cubicBezTo>
                      <a:pt x="60" y="45"/>
                      <a:pt x="61" y="45"/>
                      <a:pt x="61" y="45"/>
                    </a:cubicBezTo>
                    <a:cubicBezTo>
                      <a:pt x="68" y="47"/>
                      <a:pt x="68" y="47"/>
                      <a:pt x="68" y="47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1"/>
                      <a:pt x="69" y="11"/>
                      <a:pt x="69" y="11"/>
                    </a:cubicBezTo>
                    <a:cubicBezTo>
                      <a:pt x="66" y="10"/>
                      <a:pt x="63" y="10"/>
                      <a:pt x="6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6" name="Freeform 202"/>
              <p:cNvSpPr>
                <a:spLocks/>
              </p:cNvSpPr>
              <p:nvPr/>
            </p:nvSpPr>
            <p:spPr bwMode="black">
              <a:xfrm>
                <a:off x="7721600" y="3168650"/>
                <a:ext cx="55563" cy="30163"/>
              </a:xfrm>
              <a:custGeom>
                <a:avLst/>
                <a:gdLst>
                  <a:gd name="T0" fmla="*/ 57 w 74"/>
                  <a:gd name="T1" fmla="*/ 3 h 40"/>
                  <a:gd name="T2" fmla="*/ 53 w 74"/>
                  <a:gd name="T3" fmla="*/ 4 h 40"/>
                  <a:gd name="T4" fmla="*/ 11 w 74"/>
                  <a:gd name="T5" fmla="*/ 4 h 40"/>
                  <a:gd name="T6" fmla="*/ 3 w 74"/>
                  <a:gd name="T7" fmla="*/ 3 h 40"/>
                  <a:gd name="T8" fmla="*/ 0 w 74"/>
                  <a:gd name="T9" fmla="*/ 38 h 40"/>
                  <a:gd name="T10" fmla="*/ 7 w 74"/>
                  <a:gd name="T11" fmla="*/ 39 h 40"/>
                  <a:gd name="T12" fmla="*/ 32 w 74"/>
                  <a:gd name="T13" fmla="*/ 40 h 40"/>
                  <a:gd name="T14" fmla="*/ 60 w 74"/>
                  <a:gd name="T15" fmla="*/ 38 h 40"/>
                  <a:gd name="T16" fmla="*/ 67 w 74"/>
                  <a:gd name="T17" fmla="*/ 36 h 40"/>
                  <a:gd name="T18" fmla="*/ 74 w 74"/>
                  <a:gd name="T19" fmla="*/ 34 h 40"/>
                  <a:gd name="T20" fmla="*/ 64 w 74"/>
                  <a:gd name="T21" fmla="*/ 0 h 40"/>
                  <a:gd name="T22" fmla="*/ 57 w 74"/>
                  <a:gd name="T23" fmla="*/ 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40">
                    <a:moveTo>
                      <a:pt x="57" y="3"/>
                    </a:moveTo>
                    <a:cubicBezTo>
                      <a:pt x="56" y="3"/>
                      <a:pt x="55" y="3"/>
                      <a:pt x="53" y="4"/>
                    </a:cubicBezTo>
                    <a:cubicBezTo>
                      <a:pt x="43" y="5"/>
                      <a:pt x="28" y="6"/>
                      <a:pt x="11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16" y="40"/>
                      <a:pt x="25" y="40"/>
                      <a:pt x="32" y="40"/>
                    </a:cubicBezTo>
                    <a:cubicBezTo>
                      <a:pt x="43" y="40"/>
                      <a:pt x="52" y="40"/>
                      <a:pt x="60" y="38"/>
                    </a:cubicBezTo>
                    <a:cubicBezTo>
                      <a:pt x="62" y="38"/>
                      <a:pt x="65" y="37"/>
                      <a:pt x="67" y="36"/>
                    </a:cubicBezTo>
                    <a:cubicBezTo>
                      <a:pt x="74" y="34"/>
                      <a:pt x="74" y="34"/>
                      <a:pt x="74" y="34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5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7" name="Freeform 203"/>
              <p:cNvSpPr>
                <a:spLocks/>
              </p:cNvSpPr>
              <p:nvPr/>
            </p:nvSpPr>
            <p:spPr bwMode="black">
              <a:xfrm>
                <a:off x="7583488" y="3100388"/>
                <a:ext cx="49213" cy="58738"/>
              </a:xfrm>
              <a:custGeom>
                <a:avLst/>
                <a:gdLst>
                  <a:gd name="T0" fmla="*/ 49 w 64"/>
                  <a:gd name="T1" fmla="*/ 34 h 78"/>
                  <a:gd name="T2" fmla="*/ 49 w 64"/>
                  <a:gd name="T3" fmla="*/ 33 h 78"/>
                  <a:gd name="T4" fmla="*/ 33 w 64"/>
                  <a:gd name="T5" fmla="*/ 6 h 78"/>
                  <a:gd name="T6" fmla="*/ 29 w 64"/>
                  <a:gd name="T7" fmla="*/ 0 h 78"/>
                  <a:gd name="T8" fmla="*/ 0 w 64"/>
                  <a:gd name="T9" fmla="*/ 19 h 78"/>
                  <a:gd name="T10" fmla="*/ 4 w 64"/>
                  <a:gd name="T11" fmla="*/ 26 h 78"/>
                  <a:gd name="T12" fmla="*/ 18 w 64"/>
                  <a:gd name="T13" fmla="*/ 50 h 78"/>
                  <a:gd name="T14" fmla="*/ 31 w 64"/>
                  <a:gd name="T15" fmla="*/ 72 h 78"/>
                  <a:gd name="T16" fmla="*/ 35 w 64"/>
                  <a:gd name="T17" fmla="*/ 78 h 78"/>
                  <a:gd name="T18" fmla="*/ 64 w 64"/>
                  <a:gd name="T19" fmla="*/ 59 h 78"/>
                  <a:gd name="T20" fmla="*/ 60 w 64"/>
                  <a:gd name="T21" fmla="*/ 52 h 78"/>
                  <a:gd name="T22" fmla="*/ 49 w 64"/>
                  <a:gd name="T23" fmla="*/ 3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78">
                    <a:moveTo>
                      <a:pt x="49" y="34"/>
                    </a:moveTo>
                    <a:cubicBezTo>
                      <a:pt x="49" y="33"/>
                      <a:pt x="49" y="33"/>
                      <a:pt x="49" y="33"/>
                    </a:cubicBezTo>
                    <a:cubicBezTo>
                      <a:pt x="44" y="25"/>
                      <a:pt x="39" y="15"/>
                      <a:pt x="33" y="6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9" y="34"/>
                      <a:pt x="14" y="43"/>
                      <a:pt x="18" y="50"/>
                    </a:cubicBezTo>
                    <a:cubicBezTo>
                      <a:pt x="22" y="58"/>
                      <a:pt x="27" y="65"/>
                      <a:pt x="31" y="72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0" y="52"/>
                      <a:pt x="60" y="52"/>
                      <a:pt x="60" y="52"/>
                    </a:cubicBezTo>
                    <a:cubicBezTo>
                      <a:pt x="57" y="47"/>
                      <a:pt x="53" y="41"/>
                      <a:pt x="4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8" name="Freeform 204"/>
              <p:cNvSpPr>
                <a:spLocks/>
              </p:cNvSpPr>
              <p:nvPr/>
            </p:nvSpPr>
            <p:spPr bwMode="black">
              <a:xfrm>
                <a:off x="7521575" y="3054350"/>
                <a:ext cx="55563" cy="47625"/>
              </a:xfrm>
              <a:custGeom>
                <a:avLst/>
                <a:gdLst>
                  <a:gd name="T0" fmla="*/ 23 w 75"/>
                  <a:gd name="T1" fmla="*/ 4 h 62"/>
                  <a:gd name="T2" fmla="*/ 17 w 75"/>
                  <a:gd name="T3" fmla="*/ 0 h 62"/>
                  <a:gd name="T4" fmla="*/ 0 w 75"/>
                  <a:gd name="T5" fmla="*/ 31 h 62"/>
                  <a:gd name="T6" fmla="*/ 6 w 75"/>
                  <a:gd name="T7" fmla="*/ 35 h 62"/>
                  <a:gd name="T8" fmla="*/ 57 w 75"/>
                  <a:gd name="T9" fmla="*/ 59 h 62"/>
                  <a:gd name="T10" fmla="*/ 66 w 75"/>
                  <a:gd name="T11" fmla="*/ 62 h 62"/>
                  <a:gd name="T12" fmla="*/ 75 w 75"/>
                  <a:gd name="T13" fmla="*/ 28 h 62"/>
                  <a:gd name="T14" fmla="*/ 66 w 75"/>
                  <a:gd name="T15" fmla="*/ 25 h 62"/>
                  <a:gd name="T16" fmla="*/ 23 w 75"/>
                  <a:gd name="T17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" h="62">
                    <a:moveTo>
                      <a:pt x="23" y="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2" y="54"/>
                      <a:pt x="52" y="58"/>
                      <a:pt x="57" y="59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75" y="28"/>
                      <a:pt x="75" y="28"/>
                      <a:pt x="75" y="28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65" y="25"/>
                      <a:pt x="58" y="2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59" name="Freeform 205"/>
              <p:cNvSpPr>
                <a:spLocks/>
              </p:cNvSpPr>
              <p:nvPr/>
            </p:nvSpPr>
            <p:spPr bwMode="black">
              <a:xfrm>
                <a:off x="7640638" y="3154363"/>
                <a:ext cx="57150" cy="38100"/>
              </a:xfrm>
              <a:custGeom>
                <a:avLst/>
                <a:gdLst>
                  <a:gd name="T0" fmla="*/ 19 w 76"/>
                  <a:gd name="T1" fmla="*/ 3 h 52"/>
                  <a:gd name="T2" fmla="*/ 12 w 76"/>
                  <a:gd name="T3" fmla="*/ 0 h 52"/>
                  <a:gd name="T4" fmla="*/ 0 w 76"/>
                  <a:gd name="T5" fmla="*/ 33 h 52"/>
                  <a:gd name="T6" fmla="*/ 7 w 76"/>
                  <a:gd name="T7" fmla="*/ 36 h 52"/>
                  <a:gd name="T8" fmla="*/ 61 w 76"/>
                  <a:gd name="T9" fmla="*/ 51 h 52"/>
                  <a:gd name="T10" fmla="*/ 68 w 76"/>
                  <a:gd name="T11" fmla="*/ 52 h 52"/>
                  <a:gd name="T12" fmla="*/ 76 w 76"/>
                  <a:gd name="T13" fmla="*/ 18 h 52"/>
                  <a:gd name="T14" fmla="*/ 68 w 76"/>
                  <a:gd name="T15" fmla="*/ 16 h 52"/>
                  <a:gd name="T16" fmla="*/ 19 w 76"/>
                  <a:gd name="T17" fmla="*/ 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52">
                    <a:moveTo>
                      <a:pt x="19" y="3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23" y="41"/>
                      <a:pt x="41" y="46"/>
                      <a:pt x="61" y="51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76" y="18"/>
                      <a:pt x="76" y="18"/>
                      <a:pt x="76" y="18"/>
                    </a:cubicBezTo>
                    <a:cubicBezTo>
                      <a:pt x="68" y="16"/>
                      <a:pt x="68" y="16"/>
                      <a:pt x="68" y="16"/>
                    </a:cubicBezTo>
                    <a:cubicBezTo>
                      <a:pt x="50" y="12"/>
                      <a:pt x="33" y="8"/>
                      <a:pt x="19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60" name="Freeform 206"/>
              <p:cNvSpPr>
                <a:spLocks/>
              </p:cNvSpPr>
              <p:nvPr/>
            </p:nvSpPr>
            <p:spPr bwMode="black">
              <a:xfrm>
                <a:off x="7451725" y="3016250"/>
                <a:ext cx="57150" cy="47625"/>
              </a:xfrm>
              <a:custGeom>
                <a:avLst/>
                <a:gdLst>
                  <a:gd name="T0" fmla="*/ 24 w 77"/>
                  <a:gd name="T1" fmla="*/ 3 h 64"/>
                  <a:gd name="T2" fmla="*/ 17 w 77"/>
                  <a:gd name="T3" fmla="*/ 0 h 64"/>
                  <a:gd name="T4" fmla="*/ 0 w 77"/>
                  <a:gd name="T5" fmla="*/ 30 h 64"/>
                  <a:gd name="T6" fmla="*/ 6 w 77"/>
                  <a:gd name="T7" fmla="*/ 34 h 64"/>
                  <a:gd name="T8" fmla="*/ 53 w 77"/>
                  <a:gd name="T9" fmla="*/ 61 h 64"/>
                  <a:gd name="T10" fmla="*/ 59 w 77"/>
                  <a:gd name="T11" fmla="*/ 64 h 64"/>
                  <a:gd name="T12" fmla="*/ 77 w 77"/>
                  <a:gd name="T13" fmla="*/ 34 h 64"/>
                  <a:gd name="T14" fmla="*/ 70 w 77"/>
                  <a:gd name="T15" fmla="*/ 30 h 64"/>
                  <a:gd name="T16" fmla="*/ 24 w 77"/>
                  <a:gd name="T17" fmla="*/ 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24" y="3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3" y="43"/>
                      <a:pt x="38" y="52"/>
                      <a:pt x="53" y="61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6" y="22"/>
                      <a:pt x="41" y="13"/>
                      <a:pt x="2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61" name="Freeform 207"/>
              <p:cNvSpPr>
                <a:spLocks noEditPoints="1"/>
              </p:cNvSpPr>
              <p:nvPr/>
            </p:nvSpPr>
            <p:spPr bwMode="black">
              <a:xfrm>
                <a:off x="7108825" y="2208213"/>
                <a:ext cx="1198563" cy="892175"/>
              </a:xfrm>
              <a:custGeom>
                <a:avLst/>
                <a:gdLst>
                  <a:gd name="T0" fmla="*/ 1583 w 1601"/>
                  <a:gd name="T1" fmla="*/ 409 h 1191"/>
                  <a:gd name="T2" fmla="*/ 891 w 1601"/>
                  <a:gd name="T3" fmla="*/ 6 h 1191"/>
                  <a:gd name="T4" fmla="*/ 841 w 1601"/>
                  <a:gd name="T5" fmla="*/ 6 h 1191"/>
                  <a:gd name="T6" fmla="*/ 861 w 1601"/>
                  <a:gd name="T7" fmla="*/ 834 h 1191"/>
                  <a:gd name="T8" fmla="*/ 596 w 1601"/>
                  <a:gd name="T9" fmla="*/ 987 h 1191"/>
                  <a:gd name="T10" fmla="*/ 148 w 1601"/>
                  <a:gd name="T11" fmla="*/ 797 h 1191"/>
                  <a:gd name="T12" fmla="*/ 200 w 1601"/>
                  <a:gd name="T13" fmla="*/ 762 h 1191"/>
                  <a:gd name="T14" fmla="*/ 886 w 1601"/>
                  <a:gd name="T15" fmla="*/ 1163 h 1191"/>
                  <a:gd name="T16" fmla="*/ 853 w 1601"/>
                  <a:gd name="T17" fmla="*/ 1191 h 1191"/>
                  <a:gd name="T18" fmla="*/ 677 w 1601"/>
                  <a:gd name="T19" fmla="*/ 1097 h 1191"/>
                  <a:gd name="T20" fmla="*/ 730 w 1601"/>
                  <a:gd name="T21" fmla="*/ 1062 h 1191"/>
                  <a:gd name="T22" fmla="*/ 831 w 1601"/>
                  <a:gd name="T23" fmla="*/ 926 h 1191"/>
                  <a:gd name="T24" fmla="*/ 56 w 1601"/>
                  <a:gd name="T25" fmla="*/ 679 h 1191"/>
                  <a:gd name="T26" fmla="*/ 66 w 1601"/>
                  <a:gd name="T27" fmla="*/ 687 h 1191"/>
                  <a:gd name="T28" fmla="*/ 27 w 1601"/>
                  <a:gd name="T29" fmla="*/ 728 h 1191"/>
                  <a:gd name="T30" fmla="*/ 0 w 1601"/>
                  <a:gd name="T31" fmla="*/ 691 h 1191"/>
                  <a:gd name="T32" fmla="*/ 17 w 1601"/>
                  <a:gd name="T33" fmla="*/ 416 h 1191"/>
                  <a:gd name="T34" fmla="*/ 96 w 1601"/>
                  <a:gd name="T35" fmla="*/ 442 h 1191"/>
                  <a:gd name="T36" fmla="*/ 877 w 1601"/>
                  <a:gd name="T37" fmla="*/ 881 h 1191"/>
                  <a:gd name="T38" fmla="*/ 1600 w 1601"/>
                  <a:gd name="T39" fmla="*/ 438 h 1191"/>
                  <a:gd name="T40" fmla="*/ 1601 w 1601"/>
                  <a:gd name="T41" fmla="*/ 669 h 1191"/>
                  <a:gd name="T42" fmla="*/ 919 w 1601"/>
                  <a:gd name="T43" fmla="*/ 1087 h 1191"/>
                  <a:gd name="T44" fmla="*/ 894 w 1601"/>
                  <a:gd name="T45" fmla="*/ 853 h 1191"/>
                  <a:gd name="T46" fmla="*/ 525 w 1601"/>
                  <a:gd name="T47" fmla="*/ 886 h 1191"/>
                  <a:gd name="T48" fmla="*/ 316 w 1601"/>
                  <a:gd name="T49" fmla="*/ 770 h 1191"/>
                  <a:gd name="T50" fmla="*/ 300 w 1601"/>
                  <a:gd name="T51" fmla="*/ 721 h 1191"/>
                  <a:gd name="T52" fmla="*/ 523 w 1601"/>
                  <a:gd name="T53" fmla="*/ 822 h 1191"/>
                  <a:gd name="T54" fmla="*/ 539 w 1601"/>
                  <a:gd name="T55" fmla="*/ 870 h 1191"/>
                  <a:gd name="T56" fmla="*/ 712 w 1601"/>
                  <a:gd name="T57" fmla="*/ 1033 h 1191"/>
                  <a:gd name="T58" fmla="*/ 648 w 1601"/>
                  <a:gd name="T59" fmla="*/ 1091 h 1191"/>
                  <a:gd name="T60" fmla="*/ 617 w 1601"/>
                  <a:gd name="T61" fmla="*/ 1070 h 1191"/>
                  <a:gd name="T62" fmla="*/ 625 w 1601"/>
                  <a:gd name="T63" fmla="*/ 914 h 1191"/>
                  <a:gd name="T64" fmla="*/ 712 w 1601"/>
                  <a:gd name="T65" fmla="*/ 885 h 1191"/>
                  <a:gd name="T66" fmla="*/ 708 w 1601"/>
                  <a:gd name="T67" fmla="*/ 909 h 1191"/>
                  <a:gd name="T68" fmla="*/ 659 w 1601"/>
                  <a:gd name="T69" fmla="*/ 1044 h 1191"/>
                  <a:gd name="T70" fmla="*/ 712 w 1601"/>
                  <a:gd name="T71" fmla="*/ 1033 h 1191"/>
                  <a:gd name="T72" fmla="*/ 177 w 1601"/>
                  <a:gd name="T73" fmla="*/ 756 h 1191"/>
                  <a:gd name="T74" fmla="*/ 92 w 1601"/>
                  <a:gd name="T75" fmla="*/ 786 h 1191"/>
                  <a:gd name="T76" fmla="*/ 86 w 1601"/>
                  <a:gd name="T77" fmla="*/ 632 h 1191"/>
                  <a:gd name="T78" fmla="*/ 154 w 1601"/>
                  <a:gd name="T79" fmla="*/ 580 h 1191"/>
                  <a:gd name="T80" fmla="*/ 181 w 1601"/>
                  <a:gd name="T81" fmla="*/ 585 h 1191"/>
                  <a:gd name="T82" fmla="*/ 129 w 1601"/>
                  <a:gd name="T83" fmla="*/ 637 h 1191"/>
                  <a:gd name="T84" fmla="*/ 154 w 1601"/>
                  <a:gd name="T85" fmla="*/ 729 h 1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01" h="1191">
                    <a:moveTo>
                      <a:pt x="861" y="834"/>
                    </a:moveTo>
                    <a:cubicBezTo>
                      <a:pt x="1583" y="409"/>
                      <a:pt x="1583" y="409"/>
                      <a:pt x="1583" y="409"/>
                    </a:cubicBezTo>
                    <a:cubicBezTo>
                      <a:pt x="1581" y="407"/>
                      <a:pt x="1579" y="406"/>
                      <a:pt x="1576" y="404"/>
                    </a:cubicBezTo>
                    <a:cubicBezTo>
                      <a:pt x="891" y="6"/>
                      <a:pt x="891" y="6"/>
                      <a:pt x="891" y="6"/>
                    </a:cubicBezTo>
                    <a:cubicBezTo>
                      <a:pt x="884" y="2"/>
                      <a:pt x="875" y="0"/>
                      <a:pt x="866" y="0"/>
                    </a:cubicBezTo>
                    <a:cubicBezTo>
                      <a:pt x="857" y="0"/>
                      <a:pt x="848" y="2"/>
                      <a:pt x="841" y="6"/>
                    </a:cubicBezTo>
                    <a:cubicBezTo>
                      <a:pt x="130" y="422"/>
                      <a:pt x="130" y="422"/>
                      <a:pt x="130" y="422"/>
                    </a:cubicBezTo>
                    <a:lnTo>
                      <a:pt x="861" y="834"/>
                    </a:lnTo>
                    <a:close/>
                    <a:moveTo>
                      <a:pt x="200" y="762"/>
                    </a:moveTo>
                    <a:cubicBezTo>
                      <a:pt x="596" y="987"/>
                      <a:pt x="596" y="987"/>
                      <a:pt x="596" y="987"/>
                    </a:cubicBezTo>
                    <a:cubicBezTo>
                      <a:pt x="596" y="1051"/>
                      <a:pt x="596" y="1051"/>
                      <a:pt x="596" y="1051"/>
                    </a:cubicBezTo>
                    <a:cubicBezTo>
                      <a:pt x="148" y="797"/>
                      <a:pt x="148" y="797"/>
                      <a:pt x="148" y="797"/>
                    </a:cubicBezTo>
                    <a:cubicBezTo>
                      <a:pt x="188" y="773"/>
                      <a:pt x="188" y="773"/>
                      <a:pt x="188" y="773"/>
                    </a:cubicBezTo>
                    <a:cubicBezTo>
                      <a:pt x="192" y="771"/>
                      <a:pt x="197" y="767"/>
                      <a:pt x="200" y="762"/>
                    </a:cubicBezTo>
                    <a:close/>
                    <a:moveTo>
                      <a:pt x="886" y="897"/>
                    </a:moveTo>
                    <a:cubicBezTo>
                      <a:pt x="886" y="1163"/>
                      <a:pt x="886" y="1163"/>
                      <a:pt x="886" y="1163"/>
                    </a:cubicBezTo>
                    <a:cubicBezTo>
                      <a:pt x="884" y="1173"/>
                      <a:pt x="878" y="1182"/>
                      <a:pt x="870" y="1187"/>
                    </a:cubicBezTo>
                    <a:cubicBezTo>
                      <a:pt x="865" y="1190"/>
                      <a:pt x="859" y="1191"/>
                      <a:pt x="853" y="1191"/>
                    </a:cubicBezTo>
                    <a:cubicBezTo>
                      <a:pt x="847" y="1191"/>
                      <a:pt x="840" y="1190"/>
                      <a:pt x="834" y="1186"/>
                    </a:cubicBezTo>
                    <a:cubicBezTo>
                      <a:pt x="677" y="1097"/>
                      <a:pt x="677" y="1097"/>
                      <a:pt x="677" y="1097"/>
                    </a:cubicBezTo>
                    <a:cubicBezTo>
                      <a:pt x="718" y="1073"/>
                      <a:pt x="718" y="1073"/>
                      <a:pt x="718" y="1073"/>
                    </a:cubicBezTo>
                    <a:cubicBezTo>
                      <a:pt x="723" y="1071"/>
                      <a:pt x="727" y="1067"/>
                      <a:pt x="730" y="1062"/>
                    </a:cubicBezTo>
                    <a:cubicBezTo>
                      <a:pt x="831" y="1120"/>
                      <a:pt x="831" y="1120"/>
                      <a:pt x="831" y="1120"/>
                    </a:cubicBezTo>
                    <a:cubicBezTo>
                      <a:pt x="831" y="926"/>
                      <a:pt x="831" y="926"/>
                      <a:pt x="831" y="926"/>
                    </a:cubicBezTo>
                    <a:cubicBezTo>
                      <a:pt x="56" y="483"/>
                      <a:pt x="56" y="483"/>
                      <a:pt x="56" y="483"/>
                    </a:cubicBezTo>
                    <a:cubicBezTo>
                      <a:pt x="56" y="679"/>
                      <a:pt x="56" y="679"/>
                      <a:pt x="56" y="679"/>
                    </a:cubicBezTo>
                    <a:cubicBezTo>
                      <a:pt x="57" y="681"/>
                      <a:pt x="57" y="681"/>
                      <a:pt x="57" y="681"/>
                    </a:cubicBezTo>
                    <a:cubicBezTo>
                      <a:pt x="66" y="687"/>
                      <a:pt x="66" y="687"/>
                      <a:pt x="66" y="687"/>
                    </a:cubicBezTo>
                    <a:cubicBezTo>
                      <a:pt x="66" y="750"/>
                      <a:pt x="66" y="750"/>
                      <a:pt x="66" y="750"/>
                    </a:cubicBezTo>
                    <a:cubicBezTo>
                      <a:pt x="27" y="728"/>
                      <a:pt x="27" y="728"/>
                      <a:pt x="27" y="728"/>
                    </a:cubicBezTo>
                    <a:cubicBezTo>
                      <a:pt x="4" y="710"/>
                      <a:pt x="4" y="710"/>
                      <a:pt x="4" y="710"/>
                    </a:cubicBezTo>
                    <a:cubicBezTo>
                      <a:pt x="0" y="691"/>
                      <a:pt x="0" y="691"/>
                      <a:pt x="0" y="691"/>
                    </a:cubicBezTo>
                    <a:cubicBezTo>
                      <a:pt x="0" y="448"/>
                      <a:pt x="0" y="448"/>
                      <a:pt x="0" y="448"/>
                    </a:cubicBezTo>
                    <a:cubicBezTo>
                      <a:pt x="0" y="434"/>
                      <a:pt x="6" y="423"/>
                      <a:pt x="17" y="416"/>
                    </a:cubicBezTo>
                    <a:cubicBezTo>
                      <a:pt x="28" y="410"/>
                      <a:pt x="41" y="410"/>
                      <a:pt x="53" y="417"/>
                    </a:cubicBezTo>
                    <a:cubicBezTo>
                      <a:pt x="96" y="442"/>
                      <a:pt x="96" y="442"/>
                      <a:pt x="96" y="442"/>
                    </a:cubicBezTo>
                    <a:cubicBezTo>
                      <a:pt x="97" y="441"/>
                      <a:pt x="97" y="441"/>
                      <a:pt x="97" y="441"/>
                    </a:cubicBezTo>
                    <a:cubicBezTo>
                      <a:pt x="877" y="881"/>
                      <a:pt x="877" y="881"/>
                      <a:pt x="877" y="881"/>
                    </a:cubicBezTo>
                    <a:cubicBezTo>
                      <a:pt x="881" y="883"/>
                      <a:pt x="886" y="892"/>
                      <a:pt x="886" y="897"/>
                    </a:cubicBezTo>
                    <a:close/>
                    <a:moveTo>
                      <a:pt x="1600" y="438"/>
                    </a:moveTo>
                    <a:cubicBezTo>
                      <a:pt x="1601" y="441"/>
                      <a:pt x="1601" y="444"/>
                      <a:pt x="1601" y="448"/>
                    </a:cubicBezTo>
                    <a:cubicBezTo>
                      <a:pt x="1601" y="669"/>
                      <a:pt x="1601" y="669"/>
                      <a:pt x="1601" y="669"/>
                    </a:cubicBezTo>
                    <a:cubicBezTo>
                      <a:pt x="1601" y="686"/>
                      <a:pt x="1591" y="704"/>
                      <a:pt x="1576" y="712"/>
                    </a:cubicBezTo>
                    <a:cubicBezTo>
                      <a:pt x="919" y="1087"/>
                      <a:pt x="919" y="1087"/>
                      <a:pt x="919" y="1087"/>
                    </a:cubicBezTo>
                    <a:cubicBezTo>
                      <a:pt x="919" y="897"/>
                      <a:pt x="919" y="897"/>
                      <a:pt x="919" y="897"/>
                    </a:cubicBezTo>
                    <a:cubicBezTo>
                      <a:pt x="919" y="880"/>
                      <a:pt x="909" y="862"/>
                      <a:pt x="894" y="853"/>
                    </a:cubicBezTo>
                    <a:lnTo>
                      <a:pt x="1600" y="438"/>
                    </a:lnTo>
                    <a:close/>
                    <a:moveTo>
                      <a:pt x="525" y="886"/>
                    </a:moveTo>
                    <a:cubicBezTo>
                      <a:pt x="522" y="886"/>
                      <a:pt x="519" y="885"/>
                      <a:pt x="516" y="884"/>
                    </a:cubicBezTo>
                    <a:cubicBezTo>
                      <a:pt x="316" y="770"/>
                      <a:pt x="316" y="770"/>
                      <a:pt x="316" y="770"/>
                    </a:cubicBezTo>
                    <a:cubicBezTo>
                      <a:pt x="307" y="765"/>
                      <a:pt x="300" y="753"/>
                      <a:pt x="300" y="742"/>
                    </a:cubicBezTo>
                    <a:cubicBezTo>
                      <a:pt x="300" y="721"/>
                      <a:pt x="300" y="721"/>
                      <a:pt x="300" y="721"/>
                    </a:cubicBezTo>
                    <a:cubicBezTo>
                      <a:pt x="300" y="708"/>
                      <a:pt x="311" y="701"/>
                      <a:pt x="323" y="708"/>
                    </a:cubicBezTo>
                    <a:cubicBezTo>
                      <a:pt x="523" y="822"/>
                      <a:pt x="523" y="822"/>
                      <a:pt x="523" y="822"/>
                    </a:cubicBezTo>
                    <a:cubicBezTo>
                      <a:pt x="532" y="827"/>
                      <a:pt x="539" y="839"/>
                      <a:pt x="539" y="849"/>
                    </a:cubicBezTo>
                    <a:cubicBezTo>
                      <a:pt x="539" y="870"/>
                      <a:pt x="539" y="870"/>
                      <a:pt x="539" y="870"/>
                    </a:cubicBezTo>
                    <a:cubicBezTo>
                      <a:pt x="539" y="880"/>
                      <a:pt x="533" y="886"/>
                      <a:pt x="525" y="886"/>
                    </a:cubicBezTo>
                    <a:close/>
                    <a:moveTo>
                      <a:pt x="712" y="1033"/>
                    </a:moveTo>
                    <a:cubicBezTo>
                      <a:pt x="718" y="1040"/>
                      <a:pt x="716" y="1051"/>
                      <a:pt x="708" y="1056"/>
                    </a:cubicBezTo>
                    <a:cubicBezTo>
                      <a:pt x="648" y="1091"/>
                      <a:pt x="648" y="1091"/>
                      <a:pt x="648" y="1091"/>
                    </a:cubicBezTo>
                    <a:cubicBezTo>
                      <a:pt x="640" y="1096"/>
                      <a:pt x="626" y="1090"/>
                      <a:pt x="622" y="1086"/>
                    </a:cubicBezTo>
                    <a:cubicBezTo>
                      <a:pt x="618" y="1082"/>
                      <a:pt x="617" y="1070"/>
                      <a:pt x="617" y="1070"/>
                    </a:cubicBezTo>
                    <a:cubicBezTo>
                      <a:pt x="617" y="932"/>
                      <a:pt x="617" y="932"/>
                      <a:pt x="617" y="932"/>
                    </a:cubicBezTo>
                    <a:cubicBezTo>
                      <a:pt x="617" y="932"/>
                      <a:pt x="618" y="918"/>
                      <a:pt x="625" y="914"/>
                    </a:cubicBezTo>
                    <a:cubicBezTo>
                      <a:pt x="684" y="880"/>
                      <a:pt x="684" y="880"/>
                      <a:pt x="684" y="880"/>
                    </a:cubicBezTo>
                    <a:cubicBezTo>
                      <a:pt x="693" y="875"/>
                      <a:pt x="706" y="878"/>
                      <a:pt x="712" y="885"/>
                    </a:cubicBezTo>
                    <a:cubicBezTo>
                      <a:pt x="712" y="885"/>
                      <a:pt x="712" y="885"/>
                      <a:pt x="712" y="885"/>
                    </a:cubicBezTo>
                    <a:cubicBezTo>
                      <a:pt x="717" y="893"/>
                      <a:pt x="716" y="904"/>
                      <a:pt x="708" y="909"/>
                    </a:cubicBezTo>
                    <a:cubicBezTo>
                      <a:pt x="659" y="937"/>
                      <a:pt x="659" y="937"/>
                      <a:pt x="659" y="937"/>
                    </a:cubicBezTo>
                    <a:cubicBezTo>
                      <a:pt x="659" y="1044"/>
                      <a:pt x="659" y="1044"/>
                      <a:pt x="659" y="1044"/>
                    </a:cubicBezTo>
                    <a:cubicBezTo>
                      <a:pt x="684" y="1029"/>
                      <a:pt x="684" y="1029"/>
                      <a:pt x="684" y="1029"/>
                    </a:cubicBezTo>
                    <a:cubicBezTo>
                      <a:pt x="693" y="1024"/>
                      <a:pt x="706" y="1025"/>
                      <a:pt x="712" y="1033"/>
                    </a:cubicBezTo>
                    <a:close/>
                    <a:moveTo>
                      <a:pt x="182" y="733"/>
                    </a:moveTo>
                    <a:cubicBezTo>
                      <a:pt x="188" y="740"/>
                      <a:pt x="186" y="751"/>
                      <a:pt x="177" y="756"/>
                    </a:cubicBezTo>
                    <a:cubicBezTo>
                      <a:pt x="118" y="791"/>
                      <a:pt x="118" y="791"/>
                      <a:pt x="118" y="791"/>
                    </a:cubicBezTo>
                    <a:cubicBezTo>
                      <a:pt x="109" y="796"/>
                      <a:pt x="96" y="790"/>
                      <a:pt x="92" y="786"/>
                    </a:cubicBezTo>
                    <a:cubicBezTo>
                      <a:pt x="88" y="782"/>
                      <a:pt x="86" y="770"/>
                      <a:pt x="86" y="770"/>
                    </a:cubicBezTo>
                    <a:cubicBezTo>
                      <a:pt x="86" y="632"/>
                      <a:pt x="86" y="632"/>
                      <a:pt x="86" y="632"/>
                    </a:cubicBezTo>
                    <a:cubicBezTo>
                      <a:pt x="86" y="632"/>
                      <a:pt x="88" y="618"/>
                      <a:pt x="95" y="614"/>
                    </a:cubicBezTo>
                    <a:cubicBezTo>
                      <a:pt x="154" y="580"/>
                      <a:pt x="154" y="580"/>
                      <a:pt x="154" y="580"/>
                    </a:cubicBezTo>
                    <a:cubicBezTo>
                      <a:pt x="163" y="575"/>
                      <a:pt x="176" y="578"/>
                      <a:pt x="181" y="585"/>
                    </a:cubicBezTo>
                    <a:cubicBezTo>
                      <a:pt x="181" y="585"/>
                      <a:pt x="181" y="585"/>
                      <a:pt x="181" y="585"/>
                    </a:cubicBezTo>
                    <a:cubicBezTo>
                      <a:pt x="187" y="593"/>
                      <a:pt x="186" y="604"/>
                      <a:pt x="177" y="609"/>
                    </a:cubicBezTo>
                    <a:cubicBezTo>
                      <a:pt x="129" y="637"/>
                      <a:pt x="129" y="637"/>
                      <a:pt x="129" y="637"/>
                    </a:cubicBezTo>
                    <a:cubicBezTo>
                      <a:pt x="129" y="744"/>
                      <a:pt x="129" y="744"/>
                      <a:pt x="129" y="744"/>
                    </a:cubicBezTo>
                    <a:cubicBezTo>
                      <a:pt x="154" y="729"/>
                      <a:pt x="154" y="729"/>
                      <a:pt x="154" y="729"/>
                    </a:cubicBezTo>
                    <a:cubicBezTo>
                      <a:pt x="163" y="724"/>
                      <a:pt x="176" y="725"/>
                      <a:pt x="182" y="7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54" name="Rectangle 153"/>
            <p:cNvSpPr/>
            <p:nvPr/>
          </p:nvSpPr>
          <p:spPr>
            <a:xfrm>
              <a:off x="8007584" y="5249263"/>
              <a:ext cx="1378426" cy="551523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Load Balancer</a:t>
              </a:r>
            </a:p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Public IP</a:t>
              </a: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5306033" y="3085675"/>
              <a:ext cx="2137957" cy="335680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Site to Site VPN Tunnel</a:t>
              </a:r>
            </a:p>
          </p:txBody>
        </p:sp>
        <p:cxnSp>
          <p:nvCxnSpPr>
            <p:cNvPr id="156" name="Elbow Connector 155"/>
            <p:cNvCxnSpPr>
              <a:stCxn id="148" idx="0"/>
            </p:cNvCxnSpPr>
            <p:nvPr/>
          </p:nvCxnSpPr>
          <p:spPr>
            <a:xfrm rot="16200000" flipV="1">
              <a:off x="6048562" y="138933"/>
              <a:ext cx="479163" cy="7461728"/>
            </a:xfrm>
            <a:prstGeom prst="bentConnector2">
              <a:avLst/>
            </a:prstGeom>
            <a:ln w="25400">
              <a:solidFill>
                <a:schemeClr val="accent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Rectangle 156"/>
            <p:cNvSpPr/>
            <p:nvPr/>
          </p:nvSpPr>
          <p:spPr>
            <a:xfrm>
              <a:off x="5443005" y="3606395"/>
              <a:ext cx="2187505" cy="767366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AD Authentication</a:t>
              </a:r>
            </a:p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+</a:t>
              </a:r>
            </a:p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 On-Premises Resources</a:t>
              </a:r>
            </a:p>
          </p:txBody>
        </p:sp>
        <p:cxnSp>
          <p:nvCxnSpPr>
            <p:cNvPr id="158" name="Elbow Connector 157"/>
            <p:cNvCxnSpPr>
              <a:stCxn id="150" idx="0"/>
            </p:cNvCxnSpPr>
            <p:nvPr/>
          </p:nvCxnSpPr>
          <p:spPr>
            <a:xfrm rot="16200000" flipV="1">
              <a:off x="10026335" y="2841053"/>
              <a:ext cx="469011" cy="1999696"/>
            </a:xfrm>
            <a:prstGeom prst="bentConnector2">
              <a:avLst/>
            </a:prstGeom>
            <a:ln w="25400">
              <a:headEnd type="arrow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 158"/>
            <p:cNvSpPr/>
            <p:nvPr/>
          </p:nvSpPr>
          <p:spPr bwMode="auto">
            <a:xfrm>
              <a:off x="382772" y="1563005"/>
              <a:ext cx="11717079" cy="4529471"/>
            </a:xfrm>
            <a:prstGeom prst="rect">
              <a:avLst/>
            </a:prstGeom>
            <a:noFill/>
            <a:ln w="15875">
              <a:solidFill>
                <a:schemeClr val="accent4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376" tIns="45689" rIns="91376" bIns="4568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529" fontAlgn="base">
                <a:spcBef>
                  <a:spcPct val="0"/>
                </a:spcBef>
                <a:spcAft>
                  <a:spcPct val="0"/>
                </a:spcAft>
              </a:pPr>
              <a:endParaRPr lang="en-US" sz="23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5161305" y="1647258"/>
              <a:ext cx="2705129" cy="335680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Contoso.com Active Directory</a:t>
              </a:r>
            </a:p>
          </p:txBody>
        </p:sp>
        <p:grpSp>
          <p:nvGrpSpPr>
            <p:cNvPr id="161" name="Group 160"/>
            <p:cNvGrpSpPr/>
            <p:nvPr/>
          </p:nvGrpSpPr>
          <p:grpSpPr>
            <a:xfrm>
              <a:off x="382773" y="1562987"/>
              <a:ext cx="4550553" cy="4529489"/>
              <a:chOff x="382773" y="1562987"/>
              <a:chExt cx="4550553" cy="4529489"/>
            </a:xfrm>
          </p:grpSpPr>
          <p:grpSp>
            <p:nvGrpSpPr>
              <p:cNvPr id="162" name="Group 161"/>
              <p:cNvGrpSpPr/>
              <p:nvPr/>
            </p:nvGrpSpPr>
            <p:grpSpPr>
              <a:xfrm>
                <a:off x="591318" y="1865904"/>
                <a:ext cx="3465948" cy="3521287"/>
                <a:chOff x="897789" y="1992744"/>
                <a:chExt cx="3465948" cy="3521284"/>
              </a:xfrm>
            </p:grpSpPr>
            <p:sp>
              <p:nvSpPr>
                <p:cNvPr id="188" name="Rectangle 187"/>
                <p:cNvSpPr/>
                <p:nvPr/>
              </p:nvSpPr>
              <p:spPr bwMode="auto">
                <a:xfrm>
                  <a:off x="897789" y="1992744"/>
                  <a:ext cx="3465948" cy="346594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600" dirty="0" err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Contoso</a:t>
                  </a:r>
                  <a:r>
                    <a:rPr lang="en-US" sz="16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 Corp Network</a:t>
                  </a:r>
                </a:p>
              </p:txBody>
            </p:sp>
            <p:pic>
              <p:nvPicPr>
                <p:cNvPr id="189" name="Picture 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100000" contrast="100000"/>
                </a:blip>
                <a:srcRect/>
                <a:stretch>
                  <a:fillRect/>
                </a:stretch>
              </p:blipFill>
              <p:spPr bwMode="auto">
                <a:xfrm>
                  <a:off x="3298179" y="4442923"/>
                  <a:ext cx="965110" cy="8842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grpSp>
              <p:nvGrpSpPr>
                <p:cNvPr id="190" name="Group 189"/>
                <p:cNvGrpSpPr/>
                <p:nvPr/>
              </p:nvGrpSpPr>
              <p:grpSpPr>
                <a:xfrm>
                  <a:off x="2717713" y="2401459"/>
                  <a:ext cx="869945" cy="629380"/>
                  <a:chOff x="2870782" y="2512291"/>
                  <a:chExt cx="791194" cy="572406"/>
                </a:xfrm>
              </p:grpSpPr>
              <p:pic>
                <p:nvPicPr>
                  <p:cNvPr id="213" name="Picture 2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" cstate="print">
                    <a:lum bright="100000" contrast="100000"/>
                  </a:blip>
                  <a:srcRect l="9422" t="9591" r="8195" b="13220"/>
                  <a:stretch/>
                </p:blipFill>
                <p:spPr bwMode="auto">
                  <a:xfrm>
                    <a:off x="2870782" y="2512291"/>
                    <a:ext cx="666746" cy="572406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</p:pic>
              <p:sp>
                <p:nvSpPr>
                  <p:cNvPr id="214" name="Freeform 6"/>
                  <p:cNvSpPr>
                    <a:spLocks noChangeAspect="1" noEditPoints="1"/>
                  </p:cNvSpPr>
                  <p:nvPr/>
                </p:nvSpPr>
                <p:spPr bwMode="black">
                  <a:xfrm>
                    <a:off x="3363172" y="2782146"/>
                    <a:ext cx="298804" cy="302551"/>
                  </a:xfrm>
                  <a:custGeom>
                    <a:avLst/>
                    <a:gdLst>
                      <a:gd name="T0" fmla="*/ 84 w 84"/>
                      <a:gd name="T1" fmla="*/ 43 h 85"/>
                      <a:gd name="T2" fmla="*/ 0 w 84"/>
                      <a:gd name="T3" fmla="*/ 43 h 85"/>
                      <a:gd name="T4" fmla="*/ 76 w 84"/>
                      <a:gd name="T5" fmla="*/ 27 h 85"/>
                      <a:gd name="T6" fmla="*/ 65 w 84"/>
                      <a:gd name="T7" fmla="*/ 40 h 85"/>
                      <a:gd name="T8" fmla="*/ 76 w 84"/>
                      <a:gd name="T9" fmla="*/ 27 h 85"/>
                      <a:gd name="T10" fmla="*/ 45 w 84"/>
                      <a:gd name="T11" fmla="*/ 27 h 85"/>
                      <a:gd name="T12" fmla="*/ 62 w 84"/>
                      <a:gd name="T13" fmla="*/ 40 h 85"/>
                      <a:gd name="T14" fmla="*/ 40 w 84"/>
                      <a:gd name="T15" fmla="*/ 27 h 85"/>
                      <a:gd name="T16" fmla="*/ 21 w 84"/>
                      <a:gd name="T17" fmla="*/ 40 h 85"/>
                      <a:gd name="T18" fmla="*/ 40 w 84"/>
                      <a:gd name="T19" fmla="*/ 27 h 85"/>
                      <a:gd name="T20" fmla="*/ 8 w 84"/>
                      <a:gd name="T21" fmla="*/ 27 h 85"/>
                      <a:gd name="T22" fmla="*/ 19 w 84"/>
                      <a:gd name="T23" fmla="*/ 40 h 85"/>
                      <a:gd name="T24" fmla="*/ 10 w 84"/>
                      <a:gd name="T25" fmla="*/ 21 h 85"/>
                      <a:gd name="T26" fmla="*/ 30 w 84"/>
                      <a:gd name="T27" fmla="*/ 6 h 85"/>
                      <a:gd name="T28" fmla="*/ 25 w 84"/>
                      <a:gd name="T29" fmla="*/ 21 h 85"/>
                      <a:gd name="T30" fmla="*/ 40 w 84"/>
                      <a:gd name="T31" fmla="*/ 4 h 85"/>
                      <a:gd name="T32" fmla="*/ 45 w 84"/>
                      <a:gd name="T33" fmla="*/ 21 h 85"/>
                      <a:gd name="T34" fmla="*/ 45 w 84"/>
                      <a:gd name="T35" fmla="*/ 5 h 85"/>
                      <a:gd name="T36" fmla="*/ 62 w 84"/>
                      <a:gd name="T37" fmla="*/ 21 h 85"/>
                      <a:gd name="T38" fmla="*/ 54 w 84"/>
                      <a:gd name="T39" fmla="*/ 6 h 85"/>
                      <a:gd name="T40" fmla="*/ 80 w 84"/>
                      <a:gd name="T41" fmla="*/ 45 h 85"/>
                      <a:gd name="T42" fmla="*/ 63 w 84"/>
                      <a:gd name="T43" fmla="*/ 59 h 85"/>
                      <a:gd name="T44" fmla="*/ 80 w 84"/>
                      <a:gd name="T45" fmla="*/ 45 h 85"/>
                      <a:gd name="T46" fmla="*/ 45 w 84"/>
                      <a:gd name="T47" fmla="*/ 45 h 85"/>
                      <a:gd name="T48" fmla="*/ 61 w 84"/>
                      <a:gd name="T49" fmla="*/ 59 h 85"/>
                      <a:gd name="T50" fmla="*/ 40 w 84"/>
                      <a:gd name="T51" fmla="*/ 45 h 85"/>
                      <a:gd name="T52" fmla="*/ 23 w 84"/>
                      <a:gd name="T53" fmla="*/ 59 h 85"/>
                      <a:gd name="T54" fmla="*/ 40 w 84"/>
                      <a:gd name="T55" fmla="*/ 45 h 85"/>
                      <a:gd name="T56" fmla="*/ 4 w 84"/>
                      <a:gd name="T57" fmla="*/ 45 h 85"/>
                      <a:gd name="T58" fmla="*/ 21 w 84"/>
                      <a:gd name="T59" fmla="*/ 59 h 85"/>
                      <a:gd name="T60" fmla="*/ 45 w 84"/>
                      <a:gd name="T61" fmla="*/ 64 h 85"/>
                      <a:gd name="T62" fmla="*/ 59 w 84"/>
                      <a:gd name="T63" fmla="*/ 64 h 85"/>
                      <a:gd name="T64" fmla="*/ 40 w 84"/>
                      <a:gd name="T65" fmla="*/ 81 h 85"/>
                      <a:gd name="T66" fmla="*/ 25 w 84"/>
                      <a:gd name="T67" fmla="*/ 64 h 85"/>
                      <a:gd name="T68" fmla="*/ 73 w 84"/>
                      <a:gd name="T69" fmla="*/ 64 h 85"/>
                      <a:gd name="T70" fmla="*/ 54 w 84"/>
                      <a:gd name="T71" fmla="*/ 79 h 85"/>
                      <a:gd name="T72" fmla="*/ 22 w 84"/>
                      <a:gd name="T73" fmla="*/ 64 h 85"/>
                      <a:gd name="T74" fmla="*/ 30 w 84"/>
                      <a:gd name="T75" fmla="*/ 79 h 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84" h="85">
                        <a:moveTo>
                          <a:pt x="42" y="0"/>
                        </a:moveTo>
                        <a:cubicBezTo>
                          <a:pt x="65" y="0"/>
                          <a:pt x="84" y="19"/>
                          <a:pt x="84" y="43"/>
                        </a:cubicBezTo>
                        <a:cubicBezTo>
                          <a:pt x="84" y="66"/>
                          <a:pt x="65" y="85"/>
                          <a:pt x="42" y="85"/>
                        </a:cubicBezTo>
                        <a:cubicBezTo>
                          <a:pt x="19" y="85"/>
                          <a:pt x="0" y="66"/>
                          <a:pt x="0" y="43"/>
                        </a:cubicBezTo>
                        <a:cubicBezTo>
                          <a:pt x="0" y="19"/>
                          <a:pt x="19" y="0"/>
                          <a:pt x="42" y="0"/>
                        </a:cubicBezTo>
                        <a:close/>
                        <a:moveTo>
                          <a:pt x="76" y="27"/>
                        </a:moveTo>
                        <a:cubicBezTo>
                          <a:pt x="63" y="27"/>
                          <a:pt x="63" y="27"/>
                          <a:pt x="63" y="27"/>
                        </a:cubicBezTo>
                        <a:cubicBezTo>
                          <a:pt x="64" y="31"/>
                          <a:pt x="65" y="35"/>
                          <a:pt x="65" y="40"/>
                        </a:cubicBezTo>
                        <a:cubicBezTo>
                          <a:pt x="80" y="40"/>
                          <a:pt x="80" y="40"/>
                          <a:pt x="80" y="40"/>
                        </a:cubicBezTo>
                        <a:cubicBezTo>
                          <a:pt x="79" y="35"/>
                          <a:pt x="78" y="31"/>
                          <a:pt x="76" y="27"/>
                        </a:cubicBezTo>
                        <a:close/>
                        <a:moveTo>
                          <a:pt x="61" y="27"/>
                        </a:moveTo>
                        <a:cubicBezTo>
                          <a:pt x="45" y="27"/>
                          <a:pt x="45" y="27"/>
                          <a:pt x="45" y="27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62" y="40"/>
                          <a:pt x="62" y="40"/>
                          <a:pt x="62" y="40"/>
                        </a:cubicBezTo>
                        <a:cubicBezTo>
                          <a:pt x="62" y="35"/>
                          <a:pt x="62" y="31"/>
                          <a:pt x="61" y="27"/>
                        </a:cubicBezTo>
                        <a:close/>
                        <a:moveTo>
                          <a:pt x="40" y="27"/>
                        </a:moveTo>
                        <a:cubicBezTo>
                          <a:pt x="23" y="27"/>
                          <a:pt x="23" y="27"/>
                          <a:pt x="23" y="27"/>
                        </a:cubicBezTo>
                        <a:cubicBezTo>
                          <a:pt x="22" y="31"/>
                          <a:pt x="22" y="35"/>
                          <a:pt x="21" y="40"/>
                        </a:cubicBezTo>
                        <a:cubicBezTo>
                          <a:pt x="40" y="40"/>
                          <a:pt x="40" y="40"/>
                          <a:pt x="40" y="40"/>
                        </a:cubicBezTo>
                        <a:cubicBezTo>
                          <a:pt x="40" y="27"/>
                          <a:pt x="40" y="27"/>
                          <a:pt x="40" y="27"/>
                        </a:cubicBezTo>
                        <a:close/>
                        <a:moveTo>
                          <a:pt x="21" y="27"/>
                        </a:moveTo>
                        <a:cubicBezTo>
                          <a:pt x="8" y="27"/>
                          <a:pt x="8" y="27"/>
                          <a:pt x="8" y="27"/>
                        </a:cubicBezTo>
                        <a:cubicBezTo>
                          <a:pt x="6" y="31"/>
                          <a:pt x="5" y="35"/>
                          <a:pt x="4" y="40"/>
                        </a:cubicBezTo>
                        <a:cubicBezTo>
                          <a:pt x="19" y="40"/>
                          <a:pt x="19" y="40"/>
                          <a:pt x="19" y="40"/>
                        </a:cubicBezTo>
                        <a:cubicBezTo>
                          <a:pt x="19" y="35"/>
                          <a:pt x="20" y="31"/>
                          <a:pt x="21" y="27"/>
                        </a:cubicBezTo>
                        <a:close/>
                        <a:moveTo>
                          <a:pt x="10" y="21"/>
                        </a:moveTo>
                        <a:cubicBezTo>
                          <a:pt x="22" y="21"/>
                          <a:pt x="22" y="21"/>
                          <a:pt x="22" y="21"/>
                        </a:cubicBezTo>
                        <a:cubicBezTo>
                          <a:pt x="24" y="15"/>
                          <a:pt x="27" y="10"/>
                          <a:pt x="30" y="6"/>
                        </a:cubicBezTo>
                        <a:cubicBezTo>
                          <a:pt x="22" y="9"/>
                          <a:pt x="15" y="14"/>
                          <a:pt x="10" y="21"/>
                        </a:cubicBezTo>
                        <a:close/>
                        <a:moveTo>
                          <a:pt x="25" y="21"/>
                        </a:moveTo>
                        <a:cubicBezTo>
                          <a:pt x="40" y="21"/>
                          <a:pt x="40" y="21"/>
                          <a:pt x="40" y="21"/>
                        </a:cubicBezTo>
                        <a:cubicBezTo>
                          <a:pt x="40" y="4"/>
                          <a:pt x="40" y="4"/>
                          <a:pt x="40" y="4"/>
                        </a:cubicBezTo>
                        <a:cubicBezTo>
                          <a:pt x="33" y="6"/>
                          <a:pt x="28" y="12"/>
                          <a:pt x="25" y="21"/>
                        </a:cubicBezTo>
                        <a:close/>
                        <a:moveTo>
                          <a:pt x="45" y="21"/>
                        </a:moveTo>
                        <a:cubicBezTo>
                          <a:pt x="59" y="21"/>
                          <a:pt x="59" y="21"/>
                          <a:pt x="59" y="21"/>
                        </a:cubicBezTo>
                        <a:cubicBezTo>
                          <a:pt x="56" y="12"/>
                          <a:pt x="51" y="6"/>
                          <a:pt x="45" y="5"/>
                        </a:cubicBezTo>
                        <a:cubicBezTo>
                          <a:pt x="45" y="21"/>
                          <a:pt x="45" y="21"/>
                          <a:pt x="45" y="21"/>
                        </a:cubicBezTo>
                        <a:close/>
                        <a:moveTo>
                          <a:pt x="62" y="21"/>
                        </a:moveTo>
                        <a:cubicBezTo>
                          <a:pt x="73" y="21"/>
                          <a:pt x="73" y="21"/>
                          <a:pt x="73" y="21"/>
                        </a:cubicBezTo>
                        <a:cubicBezTo>
                          <a:pt x="69" y="14"/>
                          <a:pt x="62" y="9"/>
                          <a:pt x="54" y="6"/>
                        </a:cubicBezTo>
                        <a:cubicBezTo>
                          <a:pt x="57" y="10"/>
                          <a:pt x="60" y="15"/>
                          <a:pt x="62" y="21"/>
                        </a:cubicBezTo>
                        <a:close/>
                        <a:moveTo>
                          <a:pt x="80" y="45"/>
                        </a:moveTo>
                        <a:cubicBezTo>
                          <a:pt x="65" y="45"/>
                          <a:pt x="65" y="45"/>
                          <a:pt x="65" y="45"/>
                        </a:cubicBezTo>
                        <a:cubicBezTo>
                          <a:pt x="65" y="50"/>
                          <a:pt x="64" y="54"/>
                          <a:pt x="63" y="59"/>
                        </a:cubicBezTo>
                        <a:cubicBezTo>
                          <a:pt x="76" y="59"/>
                          <a:pt x="76" y="59"/>
                          <a:pt x="76" y="59"/>
                        </a:cubicBezTo>
                        <a:cubicBezTo>
                          <a:pt x="78" y="54"/>
                          <a:pt x="79" y="50"/>
                          <a:pt x="80" y="45"/>
                        </a:cubicBezTo>
                        <a:close/>
                        <a:moveTo>
                          <a:pt x="62" y="45"/>
                        </a:move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59"/>
                          <a:pt x="45" y="59"/>
                          <a:pt x="45" y="59"/>
                        </a:cubicBezTo>
                        <a:cubicBezTo>
                          <a:pt x="61" y="59"/>
                          <a:pt x="61" y="59"/>
                          <a:pt x="61" y="59"/>
                        </a:cubicBezTo>
                        <a:cubicBezTo>
                          <a:pt x="62" y="54"/>
                          <a:pt x="62" y="50"/>
                          <a:pt x="62" y="45"/>
                        </a:cubicBezTo>
                        <a:close/>
                        <a:moveTo>
                          <a:pt x="40" y="45"/>
                        </a:moveTo>
                        <a:cubicBezTo>
                          <a:pt x="21" y="45"/>
                          <a:pt x="21" y="45"/>
                          <a:pt x="21" y="45"/>
                        </a:cubicBezTo>
                        <a:cubicBezTo>
                          <a:pt x="22" y="50"/>
                          <a:pt x="22" y="54"/>
                          <a:pt x="23" y="59"/>
                        </a:cubicBezTo>
                        <a:cubicBezTo>
                          <a:pt x="40" y="59"/>
                          <a:pt x="40" y="59"/>
                          <a:pt x="40" y="59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lose/>
                        <a:moveTo>
                          <a:pt x="19" y="45"/>
                        </a:moveTo>
                        <a:cubicBezTo>
                          <a:pt x="4" y="45"/>
                          <a:pt x="4" y="45"/>
                          <a:pt x="4" y="45"/>
                        </a:cubicBezTo>
                        <a:cubicBezTo>
                          <a:pt x="5" y="50"/>
                          <a:pt x="6" y="54"/>
                          <a:pt x="8" y="59"/>
                        </a:cubicBezTo>
                        <a:cubicBezTo>
                          <a:pt x="21" y="59"/>
                          <a:pt x="21" y="59"/>
                          <a:pt x="21" y="59"/>
                        </a:cubicBezTo>
                        <a:cubicBezTo>
                          <a:pt x="20" y="54"/>
                          <a:pt x="19" y="50"/>
                          <a:pt x="19" y="45"/>
                        </a:cubicBezTo>
                        <a:close/>
                        <a:moveTo>
                          <a:pt x="45" y="64"/>
                        </a:moveTo>
                        <a:cubicBezTo>
                          <a:pt x="45" y="81"/>
                          <a:pt x="45" y="81"/>
                          <a:pt x="45" y="81"/>
                        </a:cubicBezTo>
                        <a:cubicBezTo>
                          <a:pt x="51" y="79"/>
                          <a:pt x="56" y="73"/>
                          <a:pt x="59" y="64"/>
                        </a:cubicBezTo>
                        <a:cubicBezTo>
                          <a:pt x="45" y="64"/>
                          <a:pt x="45" y="64"/>
                          <a:pt x="45" y="64"/>
                        </a:cubicBezTo>
                        <a:close/>
                        <a:moveTo>
                          <a:pt x="40" y="81"/>
                        </a:moveTo>
                        <a:cubicBezTo>
                          <a:pt x="40" y="64"/>
                          <a:pt x="40" y="64"/>
                          <a:pt x="40" y="64"/>
                        </a:cubicBezTo>
                        <a:cubicBezTo>
                          <a:pt x="25" y="64"/>
                          <a:pt x="25" y="64"/>
                          <a:pt x="25" y="64"/>
                        </a:cubicBezTo>
                        <a:cubicBezTo>
                          <a:pt x="28" y="73"/>
                          <a:pt x="33" y="79"/>
                          <a:pt x="40" y="81"/>
                        </a:cubicBezTo>
                        <a:close/>
                        <a:moveTo>
                          <a:pt x="73" y="64"/>
                        </a:moveTo>
                        <a:cubicBezTo>
                          <a:pt x="62" y="64"/>
                          <a:pt x="62" y="64"/>
                          <a:pt x="62" y="64"/>
                        </a:cubicBezTo>
                        <a:cubicBezTo>
                          <a:pt x="60" y="70"/>
                          <a:pt x="57" y="75"/>
                          <a:pt x="54" y="79"/>
                        </a:cubicBezTo>
                        <a:cubicBezTo>
                          <a:pt x="62" y="76"/>
                          <a:pt x="69" y="71"/>
                          <a:pt x="73" y="64"/>
                        </a:cubicBezTo>
                        <a:close/>
                        <a:moveTo>
                          <a:pt x="22" y="64"/>
                        </a:moveTo>
                        <a:cubicBezTo>
                          <a:pt x="11" y="64"/>
                          <a:pt x="11" y="64"/>
                          <a:pt x="11" y="64"/>
                        </a:cubicBezTo>
                        <a:cubicBezTo>
                          <a:pt x="15" y="71"/>
                          <a:pt x="22" y="76"/>
                          <a:pt x="30" y="79"/>
                        </a:cubicBezTo>
                        <a:cubicBezTo>
                          <a:pt x="27" y="75"/>
                          <a:pt x="24" y="70"/>
                          <a:pt x="22" y="6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793"/>
                    <a:endParaRPr lang="en-US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191" name="Rectangle 190"/>
                <p:cNvSpPr/>
                <p:nvPr/>
              </p:nvSpPr>
              <p:spPr>
                <a:xfrm>
                  <a:off x="2618018" y="2988957"/>
                  <a:ext cx="1071141" cy="33575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IIS Servers</a:t>
                  </a:r>
                </a:p>
              </p:txBody>
            </p:sp>
            <p:grpSp>
              <p:nvGrpSpPr>
                <p:cNvPr id="192" name="Group 191"/>
                <p:cNvGrpSpPr/>
                <p:nvPr/>
              </p:nvGrpSpPr>
              <p:grpSpPr>
                <a:xfrm>
                  <a:off x="2135081" y="3451570"/>
                  <a:ext cx="991365" cy="1009469"/>
                  <a:chOff x="1654846" y="3451570"/>
                  <a:chExt cx="991365" cy="1009469"/>
                </a:xfrm>
              </p:grpSpPr>
              <p:grpSp>
                <p:nvGrpSpPr>
                  <p:cNvPr id="204" name="Group 203"/>
                  <p:cNvGrpSpPr/>
                  <p:nvPr/>
                </p:nvGrpSpPr>
                <p:grpSpPr>
                  <a:xfrm>
                    <a:off x="1972774" y="3451570"/>
                    <a:ext cx="479392" cy="712232"/>
                    <a:chOff x="1972774" y="3451570"/>
                    <a:chExt cx="479392" cy="712232"/>
                  </a:xfrm>
                </p:grpSpPr>
                <p:pic>
                  <p:nvPicPr>
                    <p:cNvPr id="206" name="Picture 6" descr="\\magnum\Projects\Microsoft\Cloud Power FY12\Design\Icons\PNGs\Server_2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lum bright="100000"/>
                    </a:blip>
                    <a:srcRect l="24157" r="25929"/>
                    <a:stretch/>
                  </p:blipFill>
                  <p:spPr bwMode="auto">
                    <a:xfrm>
                      <a:off x="1972774" y="3451570"/>
                      <a:ext cx="355510" cy="712232"/>
                    </a:xfrm>
                    <a:prstGeom prst="rect">
                      <a:avLst/>
                    </a:prstGeom>
                    <a:noFill/>
                  </p:spPr>
                </p:pic>
                <p:grpSp>
                  <p:nvGrpSpPr>
                    <p:cNvPr id="207" name="Group 206"/>
                    <p:cNvGrpSpPr/>
                    <p:nvPr/>
                  </p:nvGrpSpPr>
                  <p:grpSpPr>
                    <a:xfrm>
                      <a:off x="2245986" y="3924261"/>
                      <a:ext cx="206180" cy="206424"/>
                      <a:chOff x="2245986" y="3924261"/>
                      <a:chExt cx="206180" cy="206424"/>
                    </a:xfrm>
                  </p:grpSpPr>
                  <p:grpSp>
                    <p:nvGrpSpPr>
                      <p:cNvPr id="208" name="Group 207"/>
                      <p:cNvGrpSpPr/>
                      <p:nvPr/>
                    </p:nvGrpSpPr>
                    <p:grpSpPr>
                      <a:xfrm>
                        <a:off x="2245986" y="3924261"/>
                        <a:ext cx="206180" cy="206424"/>
                        <a:chOff x="1779323" y="4627897"/>
                        <a:chExt cx="472764" cy="473323"/>
                      </a:xfrm>
                    </p:grpSpPr>
                    <p:sp>
                      <p:nvSpPr>
                        <p:cNvPr id="210" name="Isosceles Triangle 209"/>
                        <p:cNvSpPr/>
                        <p:nvPr/>
                      </p:nvSpPr>
                      <p:spPr bwMode="auto">
                        <a:xfrm>
                          <a:off x="1779323" y="4627897"/>
                          <a:ext cx="472764" cy="407555"/>
                        </a:xfrm>
                        <a:prstGeom prst="triangle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vert="horz" wrap="square" lIns="91436" tIns="45718" rIns="91436" bIns="45718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algn="ctr" defTabSz="913529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300" dirty="0">
                            <a:solidFill>
                              <a:schemeClr val="bg1"/>
                            </a:solidFill>
                            <a:latin typeface="Calibri" panose="020F0502020204030204" pitchFamily="34" charset="0"/>
                          </a:endParaRPr>
                        </a:p>
                      </p:txBody>
                    </p:sp>
                    <p:sp>
                      <p:nvSpPr>
                        <p:cNvPr id="211" name="Rectangle 210"/>
                        <p:cNvSpPr/>
                        <p:nvPr/>
                      </p:nvSpPr>
                      <p:spPr bwMode="auto">
                        <a:xfrm>
                          <a:off x="1779323" y="4824517"/>
                          <a:ext cx="472764" cy="60401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vert="horz" wrap="square" lIns="91436" tIns="45718" rIns="91436" bIns="45718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algn="ctr" defTabSz="913529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300" dirty="0">
                            <a:solidFill>
                              <a:schemeClr val="bg1"/>
                            </a:solidFill>
                            <a:latin typeface="Calibri" panose="020F0502020204030204" pitchFamily="34" charset="0"/>
                          </a:endParaRPr>
                        </a:p>
                      </p:txBody>
                    </p:sp>
                    <p:sp>
                      <p:nvSpPr>
                        <p:cNvPr id="212" name="Rectangle 211"/>
                        <p:cNvSpPr/>
                        <p:nvPr/>
                      </p:nvSpPr>
                      <p:spPr bwMode="auto">
                        <a:xfrm rot="16200000">
                          <a:off x="1881399" y="4936712"/>
                          <a:ext cx="268612" cy="60403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vert="horz" wrap="square" lIns="91436" tIns="45718" rIns="91436" bIns="45718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algn="ctr" defTabSz="913529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300" dirty="0">
                            <a:solidFill>
                              <a:schemeClr val="bg1"/>
                            </a:solidFill>
                            <a:latin typeface="Calibri" panose="020F0502020204030204" pitchFamily="34" charset="0"/>
                          </a:endParaRPr>
                        </a:p>
                      </p:txBody>
                    </p:sp>
                  </p:grpSp>
                  <p:sp>
                    <p:nvSpPr>
                      <p:cNvPr id="209" name="Isosceles Triangle 208"/>
                      <p:cNvSpPr/>
                      <p:nvPr/>
                    </p:nvSpPr>
                    <p:spPr bwMode="auto">
                      <a:xfrm>
                        <a:off x="2304709" y="3989226"/>
                        <a:ext cx="88734" cy="76495"/>
                      </a:xfrm>
                      <a:prstGeom prst="triangle">
                        <a:avLst/>
                      </a:prstGeom>
                      <a:solidFill>
                        <a:schemeClr val="accent2"/>
                      </a:solidFill>
                      <a:ln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vert="horz" wrap="square" lIns="91436" tIns="45718" rIns="91436" bIns="45718" numCol="1" rtlCol="0" anchor="ctr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algn="ctr" defTabSz="913529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3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endParaRPr>
                      </a:p>
                    </p:txBody>
                  </p:sp>
                </p:grpSp>
              </p:grpSp>
              <p:sp>
                <p:nvSpPr>
                  <p:cNvPr id="205" name="Rectangle 204"/>
                  <p:cNvSpPr/>
                  <p:nvPr/>
                </p:nvSpPr>
                <p:spPr>
                  <a:xfrm>
                    <a:off x="1654846" y="4125284"/>
                    <a:ext cx="991365" cy="335755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 defTabSz="913529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AD / DNS</a:t>
                    </a:r>
                  </a:p>
                </p:txBody>
              </p:sp>
            </p:grpSp>
            <p:pic>
              <p:nvPicPr>
                <p:cNvPr id="193" name="Picture 2"/>
                <p:cNvPicPr>
                  <a:picLocks noChangeAspect="1" noChangeArrowheads="1"/>
                </p:cNvPicPr>
                <p:nvPr/>
              </p:nvPicPr>
              <p:blipFill rotWithShape="1">
                <a:blip r:embed="rId2" cstate="print">
                  <a:lum bright="100000" contrast="100000"/>
                </a:blip>
                <a:srcRect l="9422" t="9591" r="8195" b="13220"/>
                <a:stretch/>
              </p:blipFill>
              <p:spPr bwMode="auto">
                <a:xfrm>
                  <a:off x="1521605" y="2369636"/>
                  <a:ext cx="733110" cy="6293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194" name="Rectangle 193"/>
                <p:cNvSpPr/>
                <p:nvPr/>
              </p:nvSpPr>
              <p:spPr>
                <a:xfrm>
                  <a:off x="1362581" y="2957133"/>
                  <a:ext cx="1189803" cy="33575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SQL Servers</a:t>
                  </a:r>
                </a:p>
              </p:txBody>
            </p:sp>
            <p:pic>
              <p:nvPicPr>
                <p:cNvPr id="195" name="Picture 2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clrChange>
                    <a:clrFrom>
                      <a:srgbClr val="4EB1E4"/>
                    </a:clrFrom>
                    <a:clrTo>
                      <a:srgbClr val="4EB1E4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60071" y="2677961"/>
                  <a:ext cx="333337" cy="30258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196" name="Group 195"/>
                <p:cNvGrpSpPr/>
                <p:nvPr/>
              </p:nvGrpSpPr>
              <p:grpSpPr>
                <a:xfrm>
                  <a:off x="2095558" y="4442923"/>
                  <a:ext cx="1017760" cy="1071105"/>
                  <a:chOff x="1757154" y="4442923"/>
                  <a:chExt cx="1017760" cy="1071105"/>
                </a:xfrm>
              </p:grpSpPr>
              <p:pic>
                <p:nvPicPr>
                  <p:cNvPr id="201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 contrast="10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09804" y="4442923"/>
                    <a:ext cx="965110" cy="8842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</p:pic>
              <p:sp>
                <p:nvSpPr>
                  <p:cNvPr id="202" name="Rectangle 201"/>
                  <p:cNvSpPr/>
                  <p:nvPr/>
                </p:nvSpPr>
                <p:spPr>
                  <a:xfrm>
                    <a:off x="1757154" y="5178273"/>
                    <a:ext cx="1001857" cy="335755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 defTabSz="913529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Exchange</a:t>
                    </a:r>
                  </a:p>
                </p:txBody>
              </p:sp>
              <p:sp>
                <p:nvSpPr>
                  <p:cNvPr id="203" name="Freeform 128"/>
                  <p:cNvSpPr>
                    <a:spLocks noEditPoints="1"/>
                  </p:cNvSpPr>
                  <p:nvPr/>
                </p:nvSpPr>
                <p:spPr bwMode="black">
                  <a:xfrm>
                    <a:off x="2433694" y="4961317"/>
                    <a:ext cx="322748" cy="225728"/>
                  </a:xfrm>
                  <a:custGeom>
                    <a:avLst/>
                    <a:gdLst>
                      <a:gd name="T0" fmla="*/ 7 w 300"/>
                      <a:gd name="T1" fmla="*/ 0 h 210"/>
                      <a:gd name="T2" fmla="*/ 293 w 300"/>
                      <a:gd name="T3" fmla="*/ 0 h 210"/>
                      <a:gd name="T4" fmla="*/ 150 w 300"/>
                      <a:gd name="T5" fmla="*/ 120 h 210"/>
                      <a:gd name="T6" fmla="*/ 7 w 300"/>
                      <a:gd name="T7" fmla="*/ 0 h 210"/>
                      <a:gd name="T8" fmla="*/ 153 w 300"/>
                      <a:gd name="T9" fmla="*/ 130 h 210"/>
                      <a:gd name="T10" fmla="*/ 153 w 300"/>
                      <a:gd name="T11" fmla="*/ 130 h 210"/>
                      <a:gd name="T12" fmla="*/ 153 w 300"/>
                      <a:gd name="T13" fmla="*/ 131 h 210"/>
                      <a:gd name="T14" fmla="*/ 152 w 300"/>
                      <a:gd name="T15" fmla="*/ 131 h 210"/>
                      <a:gd name="T16" fmla="*/ 152 w 300"/>
                      <a:gd name="T17" fmla="*/ 131 h 210"/>
                      <a:gd name="T18" fmla="*/ 151 w 300"/>
                      <a:gd name="T19" fmla="*/ 131 h 210"/>
                      <a:gd name="T20" fmla="*/ 151 w 300"/>
                      <a:gd name="T21" fmla="*/ 131 h 210"/>
                      <a:gd name="T22" fmla="*/ 150 w 300"/>
                      <a:gd name="T23" fmla="*/ 131 h 210"/>
                      <a:gd name="T24" fmla="*/ 150 w 300"/>
                      <a:gd name="T25" fmla="*/ 131 h 210"/>
                      <a:gd name="T26" fmla="*/ 150 w 300"/>
                      <a:gd name="T27" fmla="*/ 131 h 210"/>
                      <a:gd name="T28" fmla="*/ 149 w 300"/>
                      <a:gd name="T29" fmla="*/ 131 h 210"/>
                      <a:gd name="T30" fmla="*/ 149 w 300"/>
                      <a:gd name="T31" fmla="*/ 131 h 210"/>
                      <a:gd name="T32" fmla="*/ 148 w 300"/>
                      <a:gd name="T33" fmla="*/ 131 h 210"/>
                      <a:gd name="T34" fmla="*/ 148 w 300"/>
                      <a:gd name="T35" fmla="*/ 131 h 210"/>
                      <a:gd name="T36" fmla="*/ 147 w 300"/>
                      <a:gd name="T37" fmla="*/ 131 h 210"/>
                      <a:gd name="T38" fmla="*/ 147 w 300"/>
                      <a:gd name="T39" fmla="*/ 130 h 210"/>
                      <a:gd name="T40" fmla="*/ 147 w 300"/>
                      <a:gd name="T41" fmla="*/ 130 h 210"/>
                      <a:gd name="T42" fmla="*/ 125 w 300"/>
                      <a:gd name="T43" fmla="*/ 112 h 210"/>
                      <a:gd name="T44" fmla="*/ 8 w 300"/>
                      <a:gd name="T45" fmla="*/ 210 h 210"/>
                      <a:gd name="T46" fmla="*/ 293 w 300"/>
                      <a:gd name="T47" fmla="*/ 210 h 210"/>
                      <a:gd name="T48" fmla="*/ 175 w 300"/>
                      <a:gd name="T49" fmla="*/ 112 h 210"/>
                      <a:gd name="T50" fmla="*/ 153 w 300"/>
                      <a:gd name="T51" fmla="*/ 130 h 210"/>
                      <a:gd name="T52" fmla="*/ 0 w 300"/>
                      <a:gd name="T53" fmla="*/ 6 h 210"/>
                      <a:gd name="T54" fmla="*/ 0 w 300"/>
                      <a:gd name="T55" fmla="*/ 204 h 210"/>
                      <a:gd name="T56" fmla="*/ 118 w 300"/>
                      <a:gd name="T57" fmla="*/ 106 h 210"/>
                      <a:gd name="T58" fmla="*/ 0 w 300"/>
                      <a:gd name="T59" fmla="*/ 6 h 210"/>
                      <a:gd name="T60" fmla="*/ 182 w 300"/>
                      <a:gd name="T61" fmla="*/ 106 h 210"/>
                      <a:gd name="T62" fmla="*/ 300 w 300"/>
                      <a:gd name="T63" fmla="*/ 204 h 210"/>
                      <a:gd name="T64" fmla="*/ 300 w 300"/>
                      <a:gd name="T65" fmla="*/ 6 h 210"/>
                      <a:gd name="T66" fmla="*/ 182 w 300"/>
                      <a:gd name="T67" fmla="*/ 106 h 2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00" h="210">
                        <a:moveTo>
                          <a:pt x="7" y="0"/>
                        </a:moveTo>
                        <a:cubicBezTo>
                          <a:pt x="293" y="0"/>
                          <a:pt x="293" y="0"/>
                          <a:pt x="293" y="0"/>
                        </a:cubicBezTo>
                        <a:cubicBezTo>
                          <a:pt x="150" y="120"/>
                          <a:pt x="150" y="120"/>
                          <a:pt x="150" y="120"/>
                        </a:cubicBezTo>
                        <a:lnTo>
                          <a:pt x="7" y="0"/>
                        </a:lnTo>
                        <a:close/>
                        <a:moveTo>
                          <a:pt x="153" y="130"/>
                        </a:moveTo>
                        <a:cubicBezTo>
                          <a:pt x="153" y="130"/>
                          <a:pt x="153" y="130"/>
                          <a:pt x="153" y="130"/>
                        </a:cubicBezTo>
                        <a:cubicBezTo>
                          <a:pt x="153" y="130"/>
                          <a:pt x="153" y="130"/>
                          <a:pt x="153" y="131"/>
                        </a:cubicBezTo>
                        <a:cubicBezTo>
                          <a:pt x="153" y="131"/>
                          <a:pt x="152" y="131"/>
                          <a:pt x="152" y="131"/>
                        </a:cubicBezTo>
                        <a:cubicBezTo>
                          <a:pt x="152" y="131"/>
                          <a:pt x="152" y="131"/>
                          <a:pt x="152" y="131"/>
                        </a:cubicBezTo>
                        <a:cubicBezTo>
                          <a:pt x="152" y="131"/>
                          <a:pt x="151" y="131"/>
                          <a:pt x="151" y="131"/>
                        </a:cubicBezTo>
                        <a:cubicBezTo>
                          <a:pt x="151" y="131"/>
                          <a:pt x="151" y="131"/>
                          <a:pt x="151" y="131"/>
                        </a:cubicBezTo>
                        <a:cubicBezTo>
                          <a:pt x="151" y="131"/>
                          <a:pt x="150" y="131"/>
                          <a:pt x="150" y="131"/>
                        </a:cubicBezTo>
                        <a:cubicBezTo>
                          <a:pt x="150" y="131"/>
                          <a:pt x="150" y="131"/>
                          <a:pt x="150" y="131"/>
                        </a:cubicBezTo>
                        <a:cubicBezTo>
                          <a:pt x="150" y="131"/>
                          <a:pt x="150" y="131"/>
                          <a:pt x="150" y="131"/>
                        </a:cubicBezTo>
                        <a:cubicBezTo>
                          <a:pt x="150" y="131"/>
                          <a:pt x="149" y="131"/>
                          <a:pt x="149" y="131"/>
                        </a:cubicBezTo>
                        <a:cubicBezTo>
                          <a:pt x="149" y="131"/>
                          <a:pt x="149" y="131"/>
                          <a:pt x="149" y="131"/>
                        </a:cubicBezTo>
                        <a:cubicBezTo>
                          <a:pt x="149" y="131"/>
                          <a:pt x="148" y="131"/>
                          <a:pt x="148" y="131"/>
                        </a:cubicBezTo>
                        <a:cubicBezTo>
                          <a:pt x="148" y="131"/>
                          <a:pt x="148" y="131"/>
                          <a:pt x="148" y="131"/>
                        </a:cubicBezTo>
                        <a:cubicBezTo>
                          <a:pt x="148" y="131"/>
                          <a:pt x="148" y="131"/>
                          <a:pt x="147" y="131"/>
                        </a:cubicBezTo>
                        <a:cubicBezTo>
                          <a:pt x="147" y="130"/>
                          <a:pt x="147" y="130"/>
                          <a:pt x="147" y="130"/>
                        </a:cubicBezTo>
                        <a:cubicBezTo>
                          <a:pt x="147" y="130"/>
                          <a:pt x="147" y="130"/>
                          <a:pt x="147" y="130"/>
                        </a:cubicBezTo>
                        <a:cubicBezTo>
                          <a:pt x="125" y="112"/>
                          <a:pt x="125" y="112"/>
                          <a:pt x="125" y="112"/>
                        </a:cubicBezTo>
                        <a:cubicBezTo>
                          <a:pt x="8" y="210"/>
                          <a:pt x="8" y="210"/>
                          <a:pt x="8" y="210"/>
                        </a:cubicBezTo>
                        <a:cubicBezTo>
                          <a:pt x="293" y="210"/>
                          <a:pt x="293" y="210"/>
                          <a:pt x="293" y="210"/>
                        </a:cubicBezTo>
                        <a:cubicBezTo>
                          <a:pt x="175" y="112"/>
                          <a:pt x="175" y="112"/>
                          <a:pt x="175" y="112"/>
                        </a:cubicBezTo>
                        <a:lnTo>
                          <a:pt x="153" y="130"/>
                        </a:lnTo>
                        <a:close/>
                        <a:moveTo>
                          <a:pt x="0" y="6"/>
                        </a:moveTo>
                        <a:cubicBezTo>
                          <a:pt x="0" y="204"/>
                          <a:pt x="0" y="204"/>
                          <a:pt x="0" y="204"/>
                        </a:cubicBezTo>
                        <a:cubicBezTo>
                          <a:pt x="118" y="106"/>
                          <a:pt x="118" y="106"/>
                          <a:pt x="118" y="106"/>
                        </a:cubicBezTo>
                        <a:lnTo>
                          <a:pt x="0" y="6"/>
                        </a:lnTo>
                        <a:close/>
                        <a:moveTo>
                          <a:pt x="182" y="106"/>
                        </a:moveTo>
                        <a:cubicBezTo>
                          <a:pt x="300" y="204"/>
                          <a:pt x="300" y="204"/>
                          <a:pt x="300" y="204"/>
                        </a:cubicBezTo>
                        <a:cubicBezTo>
                          <a:pt x="300" y="6"/>
                          <a:pt x="300" y="6"/>
                          <a:pt x="300" y="6"/>
                        </a:cubicBezTo>
                        <a:lnTo>
                          <a:pt x="182" y="10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2305" tIns="41153" rIns="82305" bIns="41153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793"/>
                    <a:endParaRPr lang="en-US" sz="16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197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3478935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8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3955892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9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4432849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0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4909805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163" name="Group 162"/>
              <p:cNvGrpSpPr/>
              <p:nvPr/>
            </p:nvGrpSpPr>
            <p:grpSpPr>
              <a:xfrm>
                <a:off x="3014440" y="3223772"/>
                <a:ext cx="962218" cy="1190916"/>
                <a:chOff x="3299625" y="3425018"/>
                <a:chExt cx="962218" cy="1190914"/>
              </a:xfrm>
            </p:grpSpPr>
            <p:pic>
              <p:nvPicPr>
                <p:cNvPr id="186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3602978" y="3425018"/>
                  <a:ext cx="355510" cy="712232"/>
                </a:xfrm>
                <a:prstGeom prst="rect">
                  <a:avLst/>
                </a:prstGeom>
                <a:noFill/>
              </p:spPr>
            </p:pic>
            <p:sp>
              <p:nvSpPr>
                <p:cNvPr id="187" name="Rectangle 186"/>
                <p:cNvSpPr/>
                <p:nvPr/>
              </p:nvSpPr>
              <p:spPr>
                <a:xfrm>
                  <a:off x="3299625" y="4064333"/>
                  <a:ext cx="962218" cy="55159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S2S VPN </a:t>
                  </a:r>
                  <a:b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</a:b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Device</a:t>
                  </a:r>
                </a:p>
              </p:txBody>
            </p:sp>
          </p:grpSp>
          <p:grpSp>
            <p:nvGrpSpPr>
              <p:cNvPr id="164" name="Group 163"/>
              <p:cNvGrpSpPr/>
              <p:nvPr/>
            </p:nvGrpSpPr>
            <p:grpSpPr>
              <a:xfrm>
                <a:off x="4502875" y="1767148"/>
                <a:ext cx="430451" cy="1081861"/>
                <a:chOff x="4409404" y="1676776"/>
                <a:chExt cx="510347" cy="1282665"/>
              </a:xfrm>
            </p:grpSpPr>
            <p:sp>
              <p:nvSpPr>
                <p:cNvPr id="183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4409404" y="1676776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4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4409404" y="2153733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5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4409404" y="2630689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165" name="Group 164"/>
              <p:cNvGrpSpPr/>
              <p:nvPr/>
            </p:nvGrpSpPr>
            <p:grpSpPr>
              <a:xfrm>
                <a:off x="3302455" y="1905787"/>
                <a:ext cx="1200422" cy="804576"/>
                <a:chOff x="3587658" y="2107080"/>
                <a:chExt cx="1200422" cy="804576"/>
              </a:xfrm>
            </p:grpSpPr>
            <p:cxnSp>
              <p:nvCxnSpPr>
                <p:cNvPr id="180" name="Straight Arrow Connector 179"/>
                <p:cNvCxnSpPr/>
                <p:nvPr/>
              </p:nvCxnSpPr>
              <p:spPr>
                <a:xfrm flipH="1">
                  <a:off x="3602978" y="2107080"/>
                  <a:ext cx="1185102" cy="609069"/>
                </a:xfrm>
                <a:prstGeom prst="straightConnector1">
                  <a:avLst/>
                </a:prstGeom>
                <a:ln w="19050">
                  <a:solidFill>
                    <a:schemeClr val="tx2"/>
                  </a:solidFill>
                  <a:headEnd type="none" w="med" len="sm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Straight Arrow Connector 180"/>
                <p:cNvCxnSpPr/>
                <p:nvPr/>
              </p:nvCxnSpPr>
              <p:spPr>
                <a:xfrm flipH="1">
                  <a:off x="3602978" y="2509368"/>
                  <a:ext cx="1185102" cy="206782"/>
                </a:xfrm>
                <a:prstGeom prst="straightConnector1">
                  <a:avLst/>
                </a:prstGeom>
                <a:ln w="19050">
                  <a:solidFill>
                    <a:schemeClr val="tx2"/>
                  </a:solidFill>
                  <a:headEnd type="none" w="med" len="sm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Straight Arrow Connector 181"/>
                <p:cNvCxnSpPr/>
                <p:nvPr/>
              </p:nvCxnSpPr>
              <p:spPr>
                <a:xfrm flipH="1" flipV="1">
                  <a:off x="3587658" y="2716150"/>
                  <a:ext cx="1200422" cy="195506"/>
                </a:xfrm>
                <a:prstGeom prst="straightConnector1">
                  <a:avLst/>
                </a:prstGeom>
                <a:ln w="19050">
                  <a:solidFill>
                    <a:schemeClr val="tx2"/>
                  </a:solidFill>
                  <a:headEnd type="none" w="med" len="sm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6" name="Group 165"/>
              <p:cNvGrpSpPr/>
              <p:nvPr/>
            </p:nvGrpSpPr>
            <p:grpSpPr>
              <a:xfrm>
                <a:off x="2713792" y="2231852"/>
                <a:ext cx="576145" cy="712232"/>
                <a:chOff x="9944860" y="5187045"/>
                <a:chExt cx="576144" cy="712232"/>
              </a:xfrm>
            </p:grpSpPr>
            <p:sp>
              <p:nvSpPr>
                <p:cNvPr id="178" name="Freeform 6"/>
                <p:cNvSpPr>
                  <a:spLocks noChangeAspect="1" noEditPoints="1"/>
                </p:cNvSpPr>
                <p:nvPr/>
              </p:nvSpPr>
              <p:spPr bwMode="black">
                <a:xfrm>
                  <a:off x="10192459" y="5526355"/>
                  <a:ext cx="328545" cy="332665"/>
                </a:xfrm>
                <a:custGeom>
                  <a:avLst/>
                  <a:gdLst>
                    <a:gd name="T0" fmla="*/ 84 w 84"/>
                    <a:gd name="T1" fmla="*/ 43 h 85"/>
                    <a:gd name="T2" fmla="*/ 0 w 84"/>
                    <a:gd name="T3" fmla="*/ 43 h 85"/>
                    <a:gd name="T4" fmla="*/ 76 w 84"/>
                    <a:gd name="T5" fmla="*/ 27 h 85"/>
                    <a:gd name="T6" fmla="*/ 65 w 84"/>
                    <a:gd name="T7" fmla="*/ 40 h 85"/>
                    <a:gd name="T8" fmla="*/ 76 w 84"/>
                    <a:gd name="T9" fmla="*/ 27 h 85"/>
                    <a:gd name="T10" fmla="*/ 45 w 84"/>
                    <a:gd name="T11" fmla="*/ 27 h 85"/>
                    <a:gd name="T12" fmla="*/ 62 w 84"/>
                    <a:gd name="T13" fmla="*/ 40 h 85"/>
                    <a:gd name="T14" fmla="*/ 40 w 84"/>
                    <a:gd name="T15" fmla="*/ 27 h 85"/>
                    <a:gd name="T16" fmla="*/ 21 w 84"/>
                    <a:gd name="T17" fmla="*/ 40 h 85"/>
                    <a:gd name="T18" fmla="*/ 40 w 84"/>
                    <a:gd name="T19" fmla="*/ 27 h 85"/>
                    <a:gd name="T20" fmla="*/ 8 w 84"/>
                    <a:gd name="T21" fmla="*/ 27 h 85"/>
                    <a:gd name="T22" fmla="*/ 19 w 84"/>
                    <a:gd name="T23" fmla="*/ 40 h 85"/>
                    <a:gd name="T24" fmla="*/ 10 w 84"/>
                    <a:gd name="T25" fmla="*/ 21 h 85"/>
                    <a:gd name="T26" fmla="*/ 30 w 84"/>
                    <a:gd name="T27" fmla="*/ 6 h 85"/>
                    <a:gd name="T28" fmla="*/ 25 w 84"/>
                    <a:gd name="T29" fmla="*/ 21 h 85"/>
                    <a:gd name="T30" fmla="*/ 40 w 84"/>
                    <a:gd name="T31" fmla="*/ 4 h 85"/>
                    <a:gd name="T32" fmla="*/ 45 w 84"/>
                    <a:gd name="T33" fmla="*/ 21 h 85"/>
                    <a:gd name="T34" fmla="*/ 45 w 84"/>
                    <a:gd name="T35" fmla="*/ 5 h 85"/>
                    <a:gd name="T36" fmla="*/ 62 w 84"/>
                    <a:gd name="T37" fmla="*/ 21 h 85"/>
                    <a:gd name="T38" fmla="*/ 54 w 84"/>
                    <a:gd name="T39" fmla="*/ 6 h 85"/>
                    <a:gd name="T40" fmla="*/ 80 w 84"/>
                    <a:gd name="T41" fmla="*/ 45 h 85"/>
                    <a:gd name="T42" fmla="*/ 63 w 84"/>
                    <a:gd name="T43" fmla="*/ 59 h 85"/>
                    <a:gd name="T44" fmla="*/ 80 w 84"/>
                    <a:gd name="T45" fmla="*/ 45 h 85"/>
                    <a:gd name="T46" fmla="*/ 45 w 84"/>
                    <a:gd name="T47" fmla="*/ 45 h 85"/>
                    <a:gd name="T48" fmla="*/ 61 w 84"/>
                    <a:gd name="T49" fmla="*/ 59 h 85"/>
                    <a:gd name="T50" fmla="*/ 40 w 84"/>
                    <a:gd name="T51" fmla="*/ 45 h 85"/>
                    <a:gd name="T52" fmla="*/ 23 w 84"/>
                    <a:gd name="T53" fmla="*/ 59 h 85"/>
                    <a:gd name="T54" fmla="*/ 40 w 84"/>
                    <a:gd name="T55" fmla="*/ 45 h 85"/>
                    <a:gd name="T56" fmla="*/ 4 w 84"/>
                    <a:gd name="T57" fmla="*/ 45 h 85"/>
                    <a:gd name="T58" fmla="*/ 21 w 84"/>
                    <a:gd name="T59" fmla="*/ 59 h 85"/>
                    <a:gd name="T60" fmla="*/ 45 w 84"/>
                    <a:gd name="T61" fmla="*/ 64 h 85"/>
                    <a:gd name="T62" fmla="*/ 59 w 84"/>
                    <a:gd name="T63" fmla="*/ 64 h 85"/>
                    <a:gd name="T64" fmla="*/ 40 w 84"/>
                    <a:gd name="T65" fmla="*/ 81 h 85"/>
                    <a:gd name="T66" fmla="*/ 25 w 84"/>
                    <a:gd name="T67" fmla="*/ 64 h 85"/>
                    <a:gd name="T68" fmla="*/ 73 w 84"/>
                    <a:gd name="T69" fmla="*/ 64 h 85"/>
                    <a:gd name="T70" fmla="*/ 54 w 84"/>
                    <a:gd name="T71" fmla="*/ 79 h 85"/>
                    <a:gd name="T72" fmla="*/ 22 w 84"/>
                    <a:gd name="T73" fmla="*/ 64 h 85"/>
                    <a:gd name="T74" fmla="*/ 30 w 84"/>
                    <a:gd name="T75" fmla="*/ 79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4" h="85">
                      <a:moveTo>
                        <a:pt x="42" y="0"/>
                      </a:moveTo>
                      <a:cubicBezTo>
                        <a:pt x="65" y="0"/>
                        <a:pt x="84" y="19"/>
                        <a:pt x="84" y="43"/>
                      </a:cubicBezTo>
                      <a:cubicBezTo>
                        <a:pt x="84" y="66"/>
                        <a:pt x="65" y="85"/>
                        <a:pt x="42" y="85"/>
                      </a:cubicBezTo>
                      <a:cubicBezTo>
                        <a:pt x="19" y="85"/>
                        <a:pt x="0" y="66"/>
                        <a:pt x="0" y="43"/>
                      </a:cubicBezTo>
                      <a:cubicBezTo>
                        <a:pt x="0" y="19"/>
                        <a:pt x="19" y="0"/>
                        <a:pt x="42" y="0"/>
                      </a:cubicBezTo>
                      <a:close/>
                      <a:moveTo>
                        <a:pt x="76" y="27"/>
                      </a:move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64" y="31"/>
                        <a:pt x="65" y="35"/>
                        <a:pt x="65" y="40"/>
                      </a:cubicBezTo>
                      <a:cubicBezTo>
                        <a:pt x="80" y="40"/>
                        <a:pt x="80" y="40"/>
                        <a:pt x="80" y="40"/>
                      </a:cubicBezTo>
                      <a:cubicBezTo>
                        <a:pt x="79" y="35"/>
                        <a:pt x="78" y="31"/>
                        <a:pt x="76" y="27"/>
                      </a:cubicBezTo>
                      <a:close/>
                      <a:moveTo>
                        <a:pt x="61" y="27"/>
                      </a:moveTo>
                      <a:cubicBezTo>
                        <a:pt x="45" y="27"/>
                        <a:pt x="45" y="27"/>
                        <a:pt x="45" y="27"/>
                      </a:cubicBezTo>
                      <a:cubicBezTo>
                        <a:pt x="45" y="40"/>
                        <a:pt x="45" y="40"/>
                        <a:pt x="45" y="40"/>
                      </a:cubicBezTo>
                      <a:cubicBezTo>
                        <a:pt x="62" y="40"/>
                        <a:pt x="62" y="40"/>
                        <a:pt x="62" y="40"/>
                      </a:cubicBezTo>
                      <a:cubicBezTo>
                        <a:pt x="62" y="35"/>
                        <a:pt x="62" y="31"/>
                        <a:pt x="61" y="27"/>
                      </a:cubicBezTo>
                      <a:close/>
                      <a:moveTo>
                        <a:pt x="40" y="27"/>
                      </a:move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2" y="31"/>
                        <a:pt x="22" y="35"/>
                        <a:pt x="21" y="40"/>
                      </a:cubicBezTo>
                      <a:cubicBezTo>
                        <a:pt x="40" y="40"/>
                        <a:pt x="40" y="40"/>
                        <a:pt x="40" y="40"/>
                      </a:cubicBezTo>
                      <a:cubicBezTo>
                        <a:pt x="40" y="27"/>
                        <a:pt x="40" y="27"/>
                        <a:pt x="40" y="27"/>
                      </a:cubicBezTo>
                      <a:close/>
                      <a:moveTo>
                        <a:pt x="21" y="27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6" y="31"/>
                        <a:pt x="5" y="35"/>
                        <a:pt x="4" y="40"/>
                      </a:cubicBezTo>
                      <a:cubicBezTo>
                        <a:pt x="19" y="40"/>
                        <a:pt x="19" y="40"/>
                        <a:pt x="19" y="40"/>
                      </a:cubicBezTo>
                      <a:cubicBezTo>
                        <a:pt x="19" y="35"/>
                        <a:pt x="20" y="31"/>
                        <a:pt x="21" y="27"/>
                      </a:cubicBezTo>
                      <a:close/>
                      <a:moveTo>
                        <a:pt x="10" y="21"/>
                      </a:moveTo>
                      <a:cubicBezTo>
                        <a:pt x="22" y="21"/>
                        <a:pt x="22" y="21"/>
                        <a:pt x="22" y="21"/>
                      </a:cubicBezTo>
                      <a:cubicBezTo>
                        <a:pt x="24" y="15"/>
                        <a:pt x="27" y="10"/>
                        <a:pt x="30" y="6"/>
                      </a:cubicBezTo>
                      <a:cubicBezTo>
                        <a:pt x="22" y="9"/>
                        <a:pt x="15" y="14"/>
                        <a:pt x="10" y="21"/>
                      </a:cubicBezTo>
                      <a:close/>
                      <a:moveTo>
                        <a:pt x="25" y="21"/>
                      </a:move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33" y="6"/>
                        <a:pt x="28" y="12"/>
                        <a:pt x="25" y="21"/>
                      </a:cubicBezTo>
                      <a:close/>
                      <a:moveTo>
                        <a:pt x="45" y="21"/>
                      </a:moveTo>
                      <a:cubicBezTo>
                        <a:pt x="59" y="21"/>
                        <a:pt x="59" y="21"/>
                        <a:pt x="59" y="21"/>
                      </a:cubicBezTo>
                      <a:cubicBezTo>
                        <a:pt x="56" y="12"/>
                        <a:pt x="51" y="6"/>
                        <a:pt x="45" y="5"/>
                      </a:cubicBezTo>
                      <a:cubicBezTo>
                        <a:pt x="45" y="21"/>
                        <a:pt x="45" y="21"/>
                        <a:pt x="45" y="21"/>
                      </a:cubicBezTo>
                      <a:close/>
                      <a:moveTo>
                        <a:pt x="62" y="21"/>
                      </a:moveTo>
                      <a:cubicBezTo>
                        <a:pt x="73" y="21"/>
                        <a:pt x="73" y="21"/>
                        <a:pt x="73" y="21"/>
                      </a:cubicBezTo>
                      <a:cubicBezTo>
                        <a:pt x="69" y="14"/>
                        <a:pt x="62" y="9"/>
                        <a:pt x="54" y="6"/>
                      </a:cubicBezTo>
                      <a:cubicBezTo>
                        <a:pt x="57" y="10"/>
                        <a:pt x="60" y="15"/>
                        <a:pt x="62" y="21"/>
                      </a:cubicBezTo>
                      <a:close/>
                      <a:moveTo>
                        <a:pt x="80" y="45"/>
                      </a:moveTo>
                      <a:cubicBezTo>
                        <a:pt x="65" y="45"/>
                        <a:pt x="65" y="45"/>
                        <a:pt x="65" y="45"/>
                      </a:cubicBezTo>
                      <a:cubicBezTo>
                        <a:pt x="65" y="50"/>
                        <a:pt x="64" y="54"/>
                        <a:pt x="63" y="59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8" y="54"/>
                        <a:pt x="79" y="50"/>
                        <a:pt x="80" y="45"/>
                      </a:cubicBezTo>
                      <a:close/>
                      <a:moveTo>
                        <a:pt x="62" y="45"/>
                      </a:moveTo>
                      <a:cubicBezTo>
                        <a:pt x="45" y="45"/>
                        <a:pt x="45" y="45"/>
                        <a:pt x="45" y="45"/>
                      </a:cubicBezTo>
                      <a:cubicBezTo>
                        <a:pt x="45" y="59"/>
                        <a:pt x="45" y="59"/>
                        <a:pt x="45" y="59"/>
                      </a:cubicBezTo>
                      <a:cubicBezTo>
                        <a:pt x="61" y="59"/>
                        <a:pt x="61" y="59"/>
                        <a:pt x="61" y="59"/>
                      </a:cubicBezTo>
                      <a:cubicBezTo>
                        <a:pt x="62" y="54"/>
                        <a:pt x="62" y="50"/>
                        <a:pt x="62" y="45"/>
                      </a:cubicBezTo>
                      <a:close/>
                      <a:moveTo>
                        <a:pt x="40" y="45"/>
                      </a:moveTo>
                      <a:cubicBezTo>
                        <a:pt x="21" y="45"/>
                        <a:pt x="21" y="45"/>
                        <a:pt x="21" y="45"/>
                      </a:cubicBezTo>
                      <a:cubicBezTo>
                        <a:pt x="22" y="50"/>
                        <a:pt x="22" y="54"/>
                        <a:pt x="23" y="59"/>
                      </a:cubicBezTo>
                      <a:cubicBezTo>
                        <a:pt x="40" y="59"/>
                        <a:pt x="40" y="59"/>
                        <a:pt x="40" y="59"/>
                      </a:cubicBezTo>
                      <a:cubicBezTo>
                        <a:pt x="40" y="45"/>
                        <a:pt x="40" y="45"/>
                        <a:pt x="40" y="45"/>
                      </a:cubicBezTo>
                      <a:close/>
                      <a:moveTo>
                        <a:pt x="19" y="45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5" y="50"/>
                        <a:pt x="6" y="54"/>
                        <a:pt x="8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20" y="54"/>
                        <a:pt x="19" y="50"/>
                        <a:pt x="19" y="45"/>
                      </a:cubicBezTo>
                      <a:close/>
                      <a:moveTo>
                        <a:pt x="45" y="64"/>
                      </a:moveTo>
                      <a:cubicBezTo>
                        <a:pt x="45" y="81"/>
                        <a:pt x="45" y="81"/>
                        <a:pt x="45" y="81"/>
                      </a:cubicBezTo>
                      <a:cubicBezTo>
                        <a:pt x="51" y="79"/>
                        <a:pt x="56" y="73"/>
                        <a:pt x="59" y="64"/>
                      </a:cubicBezTo>
                      <a:cubicBezTo>
                        <a:pt x="45" y="64"/>
                        <a:pt x="45" y="64"/>
                        <a:pt x="45" y="64"/>
                      </a:cubicBezTo>
                      <a:close/>
                      <a:moveTo>
                        <a:pt x="40" y="81"/>
                      </a:moveTo>
                      <a:cubicBezTo>
                        <a:pt x="40" y="64"/>
                        <a:pt x="40" y="64"/>
                        <a:pt x="40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28" y="73"/>
                        <a:pt x="33" y="79"/>
                        <a:pt x="40" y="81"/>
                      </a:cubicBezTo>
                      <a:close/>
                      <a:moveTo>
                        <a:pt x="73" y="64"/>
                      </a:move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60" y="70"/>
                        <a:pt x="57" y="75"/>
                        <a:pt x="54" y="79"/>
                      </a:cubicBezTo>
                      <a:cubicBezTo>
                        <a:pt x="62" y="76"/>
                        <a:pt x="69" y="71"/>
                        <a:pt x="73" y="64"/>
                      </a:cubicBezTo>
                      <a:close/>
                      <a:moveTo>
                        <a:pt x="22" y="64"/>
                      </a:moveTo>
                      <a:cubicBezTo>
                        <a:pt x="11" y="64"/>
                        <a:pt x="11" y="64"/>
                        <a:pt x="11" y="64"/>
                      </a:cubicBezTo>
                      <a:cubicBezTo>
                        <a:pt x="15" y="71"/>
                        <a:pt x="22" y="76"/>
                        <a:pt x="30" y="79"/>
                      </a:cubicBezTo>
                      <a:cubicBezTo>
                        <a:pt x="27" y="75"/>
                        <a:pt x="24" y="70"/>
                        <a:pt x="22" y="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pic>
              <p:nvPicPr>
                <p:cNvPr id="179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9944860" y="5187045"/>
                  <a:ext cx="355510" cy="712232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67" name="Group 166"/>
              <p:cNvGrpSpPr/>
              <p:nvPr/>
            </p:nvGrpSpPr>
            <p:grpSpPr>
              <a:xfrm>
                <a:off x="1493287" y="2242485"/>
                <a:ext cx="604285" cy="712232"/>
                <a:chOff x="4647795" y="6723311"/>
                <a:chExt cx="604285" cy="712232"/>
              </a:xfrm>
            </p:grpSpPr>
            <p:pic>
              <p:nvPicPr>
                <p:cNvPr id="176" name="Picture 2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clrChange>
                    <a:clrFrom>
                      <a:srgbClr val="4EB1E4"/>
                    </a:clrFrom>
                    <a:clrTo>
                      <a:srgbClr val="4EB1E4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918743" y="7037593"/>
                  <a:ext cx="333337" cy="30258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77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4647795" y="6723311"/>
                  <a:ext cx="355510" cy="712232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68" name="Group 167"/>
              <p:cNvGrpSpPr/>
              <p:nvPr/>
            </p:nvGrpSpPr>
            <p:grpSpPr>
              <a:xfrm>
                <a:off x="2151470" y="3327265"/>
                <a:ext cx="479392" cy="712232"/>
                <a:chOff x="4610325" y="6858496"/>
                <a:chExt cx="479392" cy="712232"/>
              </a:xfrm>
            </p:grpSpPr>
            <p:pic>
              <p:nvPicPr>
                <p:cNvPr id="171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4610325" y="6858496"/>
                  <a:ext cx="355510" cy="712232"/>
                </a:xfrm>
                <a:prstGeom prst="rect">
                  <a:avLst/>
                </a:prstGeom>
                <a:noFill/>
              </p:spPr>
            </p:pic>
            <p:sp>
              <p:nvSpPr>
                <p:cNvPr id="172" name="Isosceles Triangle 171"/>
                <p:cNvSpPr/>
                <p:nvPr/>
              </p:nvSpPr>
              <p:spPr bwMode="auto">
                <a:xfrm>
                  <a:off x="4883537" y="7331187"/>
                  <a:ext cx="206180" cy="17774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3" name="Rectangle 172"/>
                <p:cNvSpPr/>
                <p:nvPr/>
              </p:nvSpPr>
              <p:spPr bwMode="auto">
                <a:xfrm>
                  <a:off x="4883537" y="7416936"/>
                  <a:ext cx="206180" cy="2634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4" name="Rectangle 173"/>
                <p:cNvSpPr/>
                <p:nvPr/>
              </p:nvSpPr>
              <p:spPr bwMode="auto">
                <a:xfrm rot="16200000">
                  <a:off x="4928054" y="7465866"/>
                  <a:ext cx="117146" cy="263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5" name="Isosceles Triangle 174"/>
                <p:cNvSpPr/>
                <p:nvPr/>
              </p:nvSpPr>
              <p:spPr bwMode="auto">
                <a:xfrm>
                  <a:off x="4942260" y="7396152"/>
                  <a:ext cx="88734" cy="76495"/>
                </a:xfrm>
                <a:prstGeom prst="triangle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169" name="Rectangle 168"/>
              <p:cNvSpPr/>
              <p:nvPr/>
            </p:nvSpPr>
            <p:spPr bwMode="auto">
              <a:xfrm>
                <a:off x="382773" y="1563005"/>
                <a:ext cx="3955312" cy="4529471"/>
              </a:xfrm>
              <a:prstGeom prst="rect">
                <a:avLst/>
              </a:prstGeom>
              <a:noFill/>
              <a:ln w="15875">
                <a:solidFill>
                  <a:schemeClr val="accent4"/>
                </a:solidFill>
                <a:prstDash val="sys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376" tIns="45689" rIns="91376" bIns="45689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0" name="Rectangle 169"/>
              <p:cNvSpPr/>
              <p:nvPr/>
            </p:nvSpPr>
            <p:spPr>
              <a:xfrm>
                <a:off x="937451" y="1562987"/>
                <a:ext cx="2705129" cy="335680"/>
              </a:xfrm>
              <a:prstGeom prst="rect">
                <a:avLst/>
              </a:prstGeom>
            </p:spPr>
            <p:txBody>
              <a:bodyPr wrap="none" lIns="91380" tIns="45691" rIns="91380" bIns="45691">
                <a:spAutoFit/>
              </a:bodyPr>
              <a:lstStyle/>
              <a:p>
                <a:pPr algn="ctr" defTabSz="91352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Contoso.com Active Directory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898754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469" y="-19566"/>
            <a:ext cx="9144000" cy="1399032"/>
          </a:xfrm>
        </p:spPr>
        <p:txBody>
          <a:bodyPr>
            <a:norm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omain Controller in the Cloud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104567" y="2173541"/>
            <a:ext cx="8931929" cy="3452830"/>
            <a:chOff x="382772" y="1562987"/>
            <a:chExt cx="11717079" cy="4529489"/>
          </a:xfrm>
        </p:grpSpPr>
        <p:grpSp>
          <p:nvGrpSpPr>
            <p:cNvPr id="5" name="Group 4"/>
            <p:cNvGrpSpPr/>
            <p:nvPr/>
          </p:nvGrpSpPr>
          <p:grpSpPr>
            <a:xfrm>
              <a:off x="9068451" y="2206895"/>
              <a:ext cx="2925095" cy="2814704"/>
              <a:chOff x="8948001" y="3799610"/>
              <a:chExt cx="2341419" cy="2341419"/>
            </a:xfrm>
          </p:grpSpPr>
          <p:sp>
            <p:nvSpPr>
              <p:cNvPr id="149" name="Rectangle 148"/>
              <p:cNvSpPr/>
              <p:nvPr/>
            </p:nvSpPr>
            <p:spPr bwMode="auto">
              <a:xfrm>
                <a:off x="8948001" y="3799610"/>
                <a:ext cx="2341419" cy="2341419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The Virtual Network</a:t>
                </a:r>
              </a:p>
              <a:p>
                <a:pPr algn="ctr" defTabSz="91352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in Windows Azure</a:t>
                </a:r>
              </a:p>
            </p:txBody>
          </p:sp>
          <p:sp>
            <p:nvSpPr>
              <p:cNvPr id="150" name="Freeform 40"/>
              <p:cNvSpPr>
                <a:spLocks noEditPoints="1"/>
              </p:cNvSpPr>
              <p:nvPr/>
            </p:nvSpPr>
            <p:spPr bwMode="black">
              <a:xfrm>
                <a:off x="10702813" y="4218422"/>
                <a:ext cx="547891" cy="527396"/>
              </a:xfrm>
              <a:custGeom>
                <a:avLst/>
                <a:gdLst>
                  <a:gd name="T0" fmla="*/ 461 w 891"/>
                  <a:gd name="T1" fmla="*/ 470 h 859"/>
                  <a:gd name="T2" fmla="*/ 793 w 891"/>
                  <a:gd name="T3" fmla="*/ 489 h 859"/>
                  <a:gd name="T4" fmla="*/ 707 w 891"/>
                  <a:gd name="T5" fmla="*/ 787 h 859"/>
                  <a:gd name="T6" fmla="*/ 375 w 891"/>
                  <a:gd name="T7" fmla="*/ 767 h 859"/>
                  <a:gd name="T8" fmla="*/ 461 w 891"/>
                  <a:gd name="T9" fmla="*/ 470 h 859"/>
                  <a:gd name="T10" fmla="*/ 430 w 891"/>
                  <a:gd name="T11" fmla="*/ 387 h 859"/>
                  <a:gd name="T12" fmla="*/ 517 w 891"/>
                  <a:gd name="T13" fmla="*/ 90 h 859"/>
                  <a:gd name="T14" fmla="*/ 184 w 891"/>
                  <a:gd name="T15" fmla="*/ 71 h 859"/>
                  <a:gd name="T16" fmla="*/ 98 w 891"/>
                  <a:gd name="T17" fmla="*/ 368 h 859"/>
                  <a:gd name="T18" fmla="*/ 430 w 891"/>
                  <a:gd name="T19" fmla="*/ 387 h 859"/>
                  <a:gd name="T20" fmla="*/ 83 w 891"/>
                  <a:gd name="T21" fmla="*/ 421 h 859"/>
                  <a:gd name="T22" fmla="*/ 0 w 891"/>
                  <a:gd name="T23" fmla="*/ 703 h 859"/>
                  <a:gd name="T24" fmla="*/ 0 w 891"/>
                  <a:gd name="T25" fmla="*/ 706 h 859"/>
                  <a:gd name="T26" fmla="*/ 7 w 891"/>
                  <a:gd name="T27" fmla="*/ 712 h 859"/>
                  <a:gd name="T28" fmla="*/ 9 w 891"/>
                  <a:gd name="T29" fmla="*/ 712 h 859"/>
                  <a:gd name="T30" fmla="*/ 329 w 891"/>
                  <a:gd name="T31" fmla="*/ 737 h 859"/>
                  <a:gd name="T32" fmla="*/ 415 w 891"/>
                  <a:gd name="T33" fmla="*/ 440 h 859"/>
                  <a:gd name="T34" fmla="*/ 83 w 891"/>
                  <a:gd name="T35" fmla="*/ 421 h 859"/>
                  <a:gd name="T36" fmla="*/ 883 w 891"/>
                  <a:gd name="T37" fmla="*/ 147 h 859"/>
                  <a:gd name="T38" fmla="*/ 882 w 891"/>
                  <a:gd name="T39" fmla="*/ 147 h 859"/>
                  <a:gd name="T40" fmla="*/ 561 w 891"/>
                  <a:gd name="T41" fmla="*/ 122 h 859"/>
                  <a:gd name="T42" fmla="*/ 475 w 891"/>
                  <a:gd name="T43" fmla="*/ 419 h 859"/>
                  <a:gd name="T44" fmla="*/ 808 w 891"/>
                  <a:gd name="T45" fmla="*/ 438 h 859"/>
                  <a:gd name="T46" fmla="*/ 891 w 891"/>
                  <a:gd name="T47" fmla="*/ 154 h 859"/>
                  <a:gd name="T48" fmla="*/ 891 w 891"/>
                  <a:gd name="T49" fmla="*/ 153 h 859"/>
                  <a:gd name="T50" fmla="*/ 883 w 891"/>
                  <a:gd name="T51" fmla="*/ 147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91" h="859">
                    <a:moveTo>
                      <a:pt x="461" y="470"/>
                    </a:moveTo>
                    <a:cubicBezTo>
                      <a:pt x="535" y="522"/>
                      <a:pt x="620" y="562"/>
                      <a:pt x="793" y="489"/>
                    </a:cubicBezTo>
                    <a:cubicBezTo>
                      <a:pt x="793" y="489"/>
                      <a:pt x="793" y="489"/>
                      <a:pt x="707" y="787"/>
                    </a:cubicBezTo>
                    <a:cubicBezTo>
                      <a:pt x="534" y="859"/>
                      <a:pt x="449" y="818"/>
                      <a:pt x="375" y="767"/>
                    </a:cubicBezTo>
                    <a:cubicBezTo>
                      <a:pt x="375" y="767"/>
                      <a:pt x="375" y="767"/>
                      <a:pt x="461" y="470"/>
                    </a:cubicBezTo>
                    <a:close/>
                    <a:moveTo>
                      <a:pt x="430" y="387"/>
                    </a:moveTo>
                    <a:cubicBezTo>
                      <a:pt x="517" y="90"/>
                      <a:pt x="517" y="90"/>
                      <a:pt x="517" y="90"/>
                    </a:cubicBezTo>
                    <a:cubicBezTo>
                      <a:pt x="441" y="41"/>
                      <a:pt x="357" y="0"/>
                      <a:pt x="184" y="71"/>
                    </a:cubicBezTo>
                    <a:cubicBezTo>
                      <a:pt x="98" y="368"/>
                      <a:pt x="98" y="368"/>
                      <a:pt x="98" y="368"/>
                    </a:cubicBezTo>
                    <a:cubicBezTo>
                      <a:pt x="271" y="297"/>
                      <a:pt x="354" y="337"/>
                      <a:pt x="430" y="387"/>
                    </a:cubicBezTo>
                    <a:close/>
                    <a:moveTo>
                      <a:pt x="83" y="421"/>
                    </a:moveTo>
                    <a:cubicBezTo>
                      <a:pt x="0" y="703"/>
                      <a:pt x="0" y="703"/>
                      <a:pt x="0" y="703"/>
                    </a:cubicBezTo>
                    <a:cubicBezTo>
                      <a:pt x="0" y="704"/>
                      <a:pt x="0" y="704"/>
                      <a:pt x="0" y="706"/>
                    </a:cubicBezTo>
                    <a:cubicBezTo>
                      <a:pt x="0" y="709"/>
                      <a:pt x="3" y="712"/>
                      <a:pt x="7" y="712"/>
                    </a:cubicBezTo>
                    <a:cubicBezTo>
                      <a:pt x="9" y="712"/>
                      <a:pt x="9" y="712"/>
                      <a:pt x="9" y="712"/>
                    </a:cubicBezTo>
                    <a:cubicBezTo>
                      <a:pt x="175" y="646"/>
                      <a:pt x="256" y="687"/>
                      <a:pt x="329" y="737"/>
                    </a:cubicBezTo>
                    <a:cubicBezTo>
                      <a:pt x="415" y="440"/>
                      <a:pt x="415" y="440"/>
                      <a:pt x="415" y="440"/>
                    </a:cubicBezTo>
                    <a:cubicBezTo>
                      <a:pt x="339" y="389"/>
                      <a:pt x="256" y="348"/>
                      <a:pt x="83" y="421"/>
                    </a:cubicBezTo>
                    <a:close/>
                    <a:moveTo>
                      <a:pt x="883" y="147"/>
                    </a:moveTo>
                    <a:cubicBezTo>
                      <a:pt x="882" y="147"/>
                      <a:pt x="882" y="147"/>
                      <a:pt x="882" y="147"/>
                    </a:cubicBezTo>
                    <a:cubicBezTo>
                      <a:pt x="716" y="212"/>
                      <a:pt x="634" y="172"/>
                      <a:pt x="561" y="122"/>
                    </a:cubicBezTo>
                    <a:cubicBezTo>
                      <a:pt x="475" y="419"/>
                      <a:pt x="475" y="419"/>
                      <a:pt x="475" y="419"/>
                    </a:cubicBezTo>
                    <a:cubicBezTo>
                      <a:pt x="551" y="468"/>
                      <a:pt x="634" y="509"/>
                      <a:pt x="808" y="438"/>
                    </a:cubicBezTo>
                    <a:cubicBezTo>
                      <a:pt x="891" y="154"/>
                      <a:pt x="891" y="154"/>
                      <a:pt x="891" y="154"/>
                    </a:cubicBezTo>
                    <a:cubicBezTo>
                      <a:pt x="891" y="153"/>
                      <a:pt x="891" y="153"/>
                      <a:pt x="891" y="153"/>
                    </a:cubicBezTo>
                    <a:cubicBezTo>
                      <a:pt x="891" y="150"/>
                      <a:pt x="888" y="147"/>
                      <a:pt x="883" y="1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6" name="Freeform 128"/>
            <p:cNvSpPr>
              <a:spLocks noChangeAspect="1"/>
            </p:cNvSpPr>
            <p:nvPr/>
          </p:nvSpPr>
          <p:spPr bwMode="black">
            <a:xfrm>
              <a:off x="4574210" y="2479597"/>
              <a:ext cx="3735578" cy="2063587"/>
            </a:xfrm>
            <a:custGeom>
              <a:avLst/>
              <a:gdLst>
                <a:gd name="T0" fmla="*/ 396 w 509"/>
                <a:gd name="T1" fmla="*/ 281 h 281"/>
                <a:gd name="T2" fmla="*/ 57 w 509"/>
                <a:gd name="T3" fmla="*/ 281 h 281"/>
                <a:gd name="T4" fmla="*/ 0 w 509"/>
                <a:gd name="T5" fmla="*/ 223 h 281"/>
                <a:gd name="T6" fmla="*/ 43 w 509"/>
                <a:gd name="T7" fmla="*/ 168 h 281"/>
                <a:gd name="T8" fmla="*/ 110 w 509"/>
                <a:gd name="T9" fmla="*/ 116 h 281"/>
                <a:gd name="T10" fmla="*/ 232 w 509"/>
                <a:gd name="T11" fmla="*/ 0 h 281"/>
                <a:gd name="T12" fmla="*/ 343 w 509"/>
                <a:gd name="T13" fmla="*/ 70 h 281"/>
                <a:gd name="T14" fmla="*/ 396 w 509"/>
                <a:gd name="T15" fmla="*/ 56 h 281"/>
                <a:gd name="T16" fmla="*/ 509 w 509"/>
                <a:gd name="T17" fmla="*/ 169 h 281"/>
                <a:gd name="T18" fmla="*/ 396 w 509"/>
                <a:gd name="T19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9" h="281">
                  <a:moveTo>
                    <a:pt x="396" y="281"/>
                  </a:moveTo>
                  <a:cubicBezTo>
                    <a:pt x="57" y="281"/>
                    <a:pt x="57" y="281"/>
                    <a:pt x="57" y="281"/>
                  </a:cubicBezTo>
                  <a:cubicBezTo>
                    <a:pt x="26" y="281"/>
                    <a:pt x="0" y="255"/>
                    <a:pt x="0" y="223"/>
                  </a:cubicBezTo>
                  <a:cubicBezTo>
                    <a:pt x="0" y="196"/>
                    <a:pt x="18" y="174"/>
                    <a:pt x="43" y="168"/>
                  </a:cubicBezTo>
                  <a:cubicBezTo>
                    <a:pt x="55" y="140"/>
                    <a:pt x="80" y="120"/>
                    <a:pt x="110" y="116"/>
                  </a:cubicBezTo>
                  <a:cubicBezTo>
                    <a:pt x="113" y="52"/>
                    <a:pt x="167" y="0"/>
                    <a:pt x="232" y="0"/>
                  </a:cubicBezTo>
                  <a:cubicBezTo>
                    <a:pt x="280" y="0"/>
                    <a:pt x="323" y="28"/>
                    <a:pt x="343" y="70"/>
                  </a:cubicBezTo>
                  <a:cubicBezTo>
                    <a:pt x="359" y="61"/>
                    <a:pt x="377" y="56"/>
                    <a:pt x="396" y="56"/>
                  </a:cubicBezTo>
                  <a:cubicBezTo>
                    <a:pt x="458" y="56"/>
                    <a:pt x="509" y="107"/>
                    <a:pt x="509" y="169"/>
                  </a:cubicBezTo>
                  <a:cubicBezTo>
                    <a:pt x="509" y="230"/>
                    <a:pt x="458" y="281"/>
                    <a:pt x="396" y="28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380" tIns="45691" rIns="91380" bIns="45691" numCol="1" anchor="t" anchorCtr="0" compatLnSpc="1">
              <a:prstTxWarp prst="textNoShape">
                <a:avLst/>
              </a:prstTxWarp>
            </a:bodyPr>
            <a:lstStyle/>
            <a:p>
              <a:pPr defTabSz="913793"/>
              <a:endParaRPr lang="en-US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9023860" y="2845971"/>
              <a:ext cx="995148" cy="1074497"/>
              <a:chOff x="9038393" y="4345563"/>
              <a:chExt cx="995148" cy="1074496"/>
            </a:xfrm>
          </p:grpSpPr>
          <p:grpSp>
            <p:nvGrpSpPr>
              <p:cNvPr id="145" name="Group 144"/>
              <p:cNvGrpSpPr/>
              <p:nvPr/>
            </p:nvGrpSpPr>
            <p:grpSpPr>
              <a:xfrm>
                <a:off x="9038393" y="4345563"/>
                <a:ext cx="995148" cy="1074496"/>
                <a:chOff x="1779766" y="4442923"/>
                <a:chExt cx="995148" cy="1074496"/>
              </a:xfrm>
            </p:grpSpPr>
            <p:pic>
              <p:nvPicPr>
                <p:cNvPr id="147" name="Picture 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100000" contrast="100000"/>
                </a:blip>
                <a:srcRect/>
                <a:stretch>
                  <a:fillRect/>
                </a:stretch>
              </p:blipFill>
              <p:spPr bwMode="auto">
                <a:xfrm>
                  <a:off x="1809804" y="4442923"/>
                  <a:ext cx="965110" cy="8842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148" name="Rectangle 147"/>
                <p:cNvSpPr/>
                <p:nvPr/>
              </p:nvSpPr>
              <p:spPr>
                <a:xfrm>
                  <a:off x="1779766" y="5178272"/>
                  <a:ext cx="956629" cy="3391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Gateway</a:t>
                  </a:r>
                </a:p>
              </p:txBody>
            </p:sp>
          </p:grpSp>
          <p:sp>
            <p:nvSpPr>
              <p:cNvPr id="146" name="Freeform 92"/>
              <p:cNvSpPr>
                <a:spLocks noEditPoints="1"/>
              </p:cNvSpPr>
              <p:nvPr/>
            </p:nvSpPr>
            <p:spPr bwMode="black">
              <a:xfrm>
                <a:off x="9842233" y="4787711"/>
                <a:ext cx="191307" cy="260655"/>
              </a:xfrm>
              <a:custGeom>
                <a:avLst/>
                <a:gdLst>
                  <a:gd name="T0" fmla="*/ 15 w 48"/>
                  <a:gd name="T1" fmla="*/ 11 h 66"/>
                  <a:gd name="T2" fmla="*/ 24 w 48"/>
                  <a:gd name="T3" fmla="*/ 9 h 66"/>
                  <a:gd name="T4" fmla="*/ 33 w 48"/>
                  <a:gd name="T5" fmla="*/ 11 h 66"/>
                  <a:gd name="T6" fmla="*/ 35 w 48"/>
                  <a:gd name="T7" fmla="*/ 23 h 66"/>
                  <a:gd name="T8" fmla="*/ 35 w 48"/>
                  <a:gd name="T9" fmla="*/ 25 h 66"/>
                  <a:gd name="T10" fmla="*/ 35 w 48"/>
                  <a:gd name="T11" fmla="*/ 27 h 66"/>
                  <a:gd name="T12" fmla="*/ 14 w 48"/>
                  <a:gd name="T13" fmla="*/ 27 h 66"/>
                  <a:gd name="T14" fmla="*/ 14 w 48"/>
                  <a:gd name="T15" fmla="*/ 25 h 66"/>
                  <a:gd name="T16" fmla="*/ 14 w 48"/>
                  <a:gd name="T17" fmla="*/ 22 h 66"/>
                  <a:gd name="T18" fmla="*/ 15 w 48"/>
                  <a:gd name="T19" fmla="*/ 11 h 66"/>
                  <a:gd name="T20" fmla="*/ 44 w 48"/>
                  <a:gd name="T21" fmla="*/ 28 h 66"/>
                  <a:gd name="T22" fmla="*/ 44 w 48"/>
                  <a:gd name="T23" fmla="*/ 25 h 66"/>
                  <a:gd name="T24" fmla="*/ 44 w 48"/>
                  <a:gd name="T25" fmla="*/ 23 h 66"/>
                  <a:gd name="T26" fmla="*/ 39 w 48"/>
                  <a:gd name="T27" fmla="*/ 5 h 66"/>
                  <a:gd name="T28" fmla="*/ 24 w 48"/>
                  <a:gd name="T29" fmla="*/ 0 h 66"/>
                  <a:gd name="T30" fmla="*/ 9 w 48"/>
                  <a:gd name="T31" fmla="*/ 5 h 66"/>
                  <a:gd name="T32" fmla="*/ 5 w 48"/>
                  <a:gd name="T33" fmla="*/ 22 h 66"/>
                  <a:gd name="T34" fmla="*/ 5 w 48"/>
                  <a:gd name="T35" fmla="*/ 25 h 66"/>
                  <a:gd name="T36" fmla="*/ 5 w 48"/>
                  <a:gd name="T37" fmla="*/ 27 h 66"/>
                  <a:gd name="T38" fmla="*/ 0 w 48"/>
                  <a:gd name="T39" fmla="*/ 32 h 66"/>
                  <a:gd name="T40" fmla="*/ 0 w 48"/>
                  <a:gd name="T41" fmla="*/ 62 h 66"/>
                  <a:gd name="T42" fmla="*/ 5 w 48"/>
                  <a:gd name="T43" fmla="*/ 66 h 66"/>
                  <a:gd name="T44" fmla="*/ 43 w 48"/>
                  <a:gd name="T45" fmla="*/ 66 h 66"/>
                  <a:gd name="T46" fmla="*/ 48 w 48"/>
                  <a:gd name="T47" fmla="*/ 62 h 66"/>
                  <a:gd name="T48" fmla="*/ 48 w 48"/>
                  <a:gd name="T49" fmla="*/ 32 h 66"/>
                  <a:gd name="T50" fmla="*/ 44 w 48"/>
                  <a:gd name="T51" fmla="*/ 2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66">
                    <a:moveTo>
                      <a:pt x="15" y="11"/>
                    </a:moveTo>
                    <a:cubicBezTo>
                      <a:pt x="17" y="10"/>
                      <a:pt x="20" y="9"/>
                      <a:pt x="24" y="9"/>
                    </a:cubicBezTo>
                    <a:cubicBezTo>
                      <a:pt x="29" y="9"/>
                      <a:pt x="32" y="10"/>
                      <a:pt x="33" y="11"/>
                    </a:cubicBezTo>
                    <a:cubicBezTo>
                      <a:pt x="35" y="13"/>
                      <a:pt x="35" y="18"/>
                      <a:pt x="35" y="23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5" y="26"/>
                      <a:pt x="35" y="27"/>
                      <a:pt x="35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4" y="26"/>
                      <a:pt x="14" y="25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17"/>
                      <a:pt x="14" y="13"/>
                      <a:pt x="15" y="11"/>
                    </a:cubicBezTo>
                    <a:moveTo>
                      <a:pt x="44" y="28"/>
                    </a:moveTo>
                    <a:cubicBezTo>
                      <a:pt x="44" y="27"/>
                      <a:pt x="44" y="26"/>
                      <a:pt x="44" y="25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16"/>
                      <a:pt x="44" y="10"/>
                      <a:pt x="39" y="5"/>
                    </a:cubicBezTo>
                    <a:cubicBezTo>
                      <a:pt x="36" y="2"/>
                      <a:pt x="31" y="0"/>
                      <a:pt x="24" y="0"/>
                    </a:cubicBezTo>
                    <a:cubicBezTo>
                      <a:pt x="17" y="0"/>
                      <a:pt x="12" y="2"/>
                      <a:pt x="9" y="5"/>
                    </a:cubicBezTo>
                    <a:cubicBezTo>
                      <a:pt x="5" y="9"/>
                      <a:pt x="5" y="16"/>
                      <a:pt x="5" y="22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5" y="26"/>
                      <a:pt x="5" y="27"/>
                      <a:pt x="5" y="27"/>
                    </a:cubicBezTo>
                    <a:cubicBezTo>
                      <a:pt x="2" y="28"/>
                      <a:pt x="0" y="30"/>
                      <a:pt x="0" y="3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4"/>
                      <a:pt x="2" y="66"/>
                      <a:pt x="5" y="66"/>
                    </a:cubicBezTo>
                    <a:cubicBezTo>
                      <a:pt x="43" y="66"/>
                      <a:pt x="43" y="66"/>
                      <a:pt x="43" y="66"/>
                    </a:cubicBezTo>
                    <a:cubicBezTo>
                      <a:pt x="46" y="66"/>
                      <a:pt x="48" y="64"/>
                      <a:pt x="48" y="6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0"/>
                      <a:pt x="46" y="28"/>
                      <a:pt x="44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6797774" y="4656636"/>
              <a:ext cx="430451" cy="1081861"/>
              <a:chOff x="4409404" y="1676776"/>
              <a:chExt cx="510347" cy="1282665"/>
            </a:xfrm>
          </p:grpSpPr>
          <p:sp>
            <p:nvSpPr>
              <p:cNvPr id="142" name="Freeform 27"/>
              <p:cNvSpPr>
                <a:spLocks noChangeAspect="1" noEditPoints="1"/>
              </p:cNvSpPr>
              <p:nvPr/>
            </p:nvSpPr>
            <p:spPr bwMode="black">
              <a:xfrm>
                <a:off x="4409404" y="1676776"/>
                <a:ext cx="510347" cy="328752"/>
              </a:xfrm>
              <a:custGeom>
                <a:avLst/>
                <a:gdLst/>
                <a:ahLst/>
                <a:cxnLst>
                  <a:cxn ang="0">
                    <a:pos x="340" y="182"/>
                  </a:cxn>
                  <a:cxn ang="0">
                    <a:pos x="340" y="16"/>
                  </a:cxn>
                  <a:cxn ang="0">
                    <a:pos x="324" y="0"/>
                  </a:cxn>
                  <a:cxn ang="0">
                    <a:pos x="47" y="0"/>
                  </a:cxn>
                  <a:cxn ang="0">
                    <a:pos x="31" y="16"/>
                  </a:cxn>
                  <a:cxn ang="0">
                    <a:pos x="31" y="182"/>
                  </a:cxn>
                  <a:cxn ang="0">
                    <a:pos x="0" y="220"/>
                  </a:cxn>
                  <a:cxn ang="0">
                    <a:pos x="19" y="240"/>
                  </a:cxn>
                  <a:cxn ang="0">
                    <a:pos x="352" y="240"/>
                  </a:cxn>
                  <a:cxn ang="0">
                    <a:pos x="371" y="220"/>
                  </a:cxn>
                  <a:cxn ang="0">
                    <a:pos x="340" y="182"/>
                  </a:cxn>
                  <a:cxn ang="0">
                    <a:pos x="211" y="225"/>
                  </a:cxn>
                  <a:cxn ang="0">
                    <a:pos x="154" y="225"/>
                  </a:cxn>
                  <a:cxn ang="0">
                    <a:pos x="148" y="222"/>
                  </a:cxn>
                  <a:cxn ang="0">
                    <a:pos x="155" y="209"/>
                  </a:cxn>
                  <a:cxn ang="0">
                    <a:pos x="160" y="207"/>
                  </a:cxn>
                  <a:cxn ang="0">
                    <a:pos x="205" y="207"/>
                  </a:cxn>
                  <a:cxn ang="0">
                    <a:pos x="210" y="209"/>
                  </a:cxn>
                  <a:cxn ang="0">
                    <a:pos x="217" y="222"/>
                  </a:cxn>
                  <a:cxn ang="0">
                    <a:pos x="211" y="225"/>
                  </a:cxn>
                  <a:cxn ang="0">
                    <a:pos x="315" y="178"/>
                  </a:cxn>
                  <a:cxn ang="0">
                    <a:pos x="56" y="178"/>
                  </a:cxn>
                  <a:cxn ang="0">
                    <a:pos x="56" y="33"/>
                  </a:cxn>
                  <a:cxn ang="0">
                    <a:pos x="63" y="25"/>
                  </a:cxn>
                  <a:cxn ang="0">
                    <a:pos x="308" y="25"/>
                  </a:cxn>
                  <a:cxn ang="0">
                    <a:pos x="315" y="33"/>
                  </a:cxn>
                  <a:cxn ang="0">
                    <a:pos x="315" y="178"/>
                  </a:cxn>
                </a:cxnLst>
                <a:rect l="0" t="0" r="r" b="b"/>
                <a:pathLst>
                  <a:path w="371" h="240">
                    <a:moveTo>
                      <a:pt x="340" y="182"/>
                    </a:moveTo>
                    <a:cubicBezTo>
                      <a:pt x="340" y="16"/>
                      <a:pt x="340" y="16"/>
                      <a:pt x="340" y="16"/>
                    </a:cubicBezTo>
                    <a:cubicBezTo>
                      <a:pt x="340" y="8"/>
                      <a:pt x="333" y="0"/>
                      <a:pt x="3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8" y="0"/>
                      <a:pt x="31" y="8"/>
                      <a:pt x="31" y="16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1"/>
                      <a:pt x="9" y="240"/>
                      <a:pt x="19" y="240"/>
                    </a:cubicBezTo>
                    <a:cubicBezTo>
                      <a:pt x="352" y="240"/>
                      <a:pt x="352" y="240"/>
                      <a:pt x="352" y="240"/>
                    </a:cubicBezTo>
                    <a:cubicBezTo>
                      <a:pt x="362" y="240"/>
                      <a:pt x="371" y="231"/>
                      <a:pt x="371" y="220"/>
                    </a:cubicBezTo>
                    <a:lnTo>
                      <a:pt x="340" y="182"/>
                    </a:lnTo>
                    <a:close/>
                    <a:moveTo>
                      <a:pt x="211" y="225"/>
                    </a:moveTo>
                    <a:cubicBezTo>
                      <a:pt x="154" y="225"/>
                      <a:pt x="154" y="225"/>
                      <a:pt x="154" y="225"/>
                    </a:cubicBezTo>
                    <a:cubicBezTo>
                      <a:pt x="151" y="225"/>
                      <a:pt x="148" y="223"/>
                      <a:pt x="148" y="222"/>
                    </a:cubicBezTo>
                    <a:cubicBezTo>
                      <a:pt x="155" y="209"/>
                      <a:pt x="155" y="209"/>
                      <a:pt x="155" y="209"/>
                    </a:cubicBezTo>
                    <a:cubicBezTo>
                      <a:pt x="155" y="208"/>
                      <a:pt x="157" y="207"/>
                      <a:pt x="160" y="207"/>
                    </a:cubicBezTo>
                    <a:cubicBezTo>
                      <a:pt x="205" y="207"/>
                      <a:pt x="205" y="207"/>
                      <a:pt x="205" y="207"/>
                    </a:cubicBezTo>
                    <a:cubicBezTo>
                      <a:pt x="208" y="207"/>
                      <a:pt x="210" y="208"/>
                      <a:pt x="210" y="209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7" y="223"/>
                      <a:pt x="214" y="225"/>
                      <a:pt x="211" y="225"/>
                    </a:cubicBezTo>
                    <a:close/>
                    <a:moveTo>
                      <a:pt x="315" y="178"/>
                    </a:moveTo>
                    <a:cubicBezTo>
                      <a:pt x="56" y="178"/>
                      <a:pt x="56" y="178"/>
                      <a:pt x="56" y="17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28"/>
                      <a:pt x="59" y="25"/>
                      <a:pt x="63" y="25"/>
                    </a:cubicBezTo>
                    <a:cubicBezTo>
                      <a:pt x="308" y="25"/>
                      <a:pt x="308" y="25"/>
                      <a:pt x="308" y="25"/>
                    </a:cubicBezTo>
                    <a:cubicBezTo>
                      <a:pt x="312" y="25"/>
                      <a:pt x="315" y="28"/>
                      <a:pt x="315" y="33"/>
                    </a:cubicBezTo>
                    <a:lnTo>
                      <a:pt x="315" y="178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43" name="Freeform 27"/>
              <p:cNvSpPr>
                <a:spLocks noChangeAspect="1" noEditPoints="1"/>
              </p:cNvSpPr>
              <p:nvPr/>
            </p:nvSpPr>
            <p:spPr bwMode="black">
              <a:xfrm>
                <a:off x="4409404" y="2153733"/>
                <a:ext cx="510347" cy="328752"/>
              </a:xfrm>
              <a:custGeom>
                <a:avLst/>
                <a:gdLst/>
                <a:ahLst/>
                <a:cxnLst>
                  <a:cxn ang="0">
                    <a:pos x="340" y="182"/>
                  </a:cxn>
                  <a:cxn ang="0">
                    <a:pos x="340" y="16"/>
                  </a:cxn>
                  <a:cxn ang="0">
                    <a:pos x="324" y="0"/>
                  </a:cxn>
                  <a:cxn ang="0">
                    <a:pos x="47" y="0"/>
                  </a:cxn>
                  <a:cxn ang="0">
                    <a:pos x="31" y="16"/>
                  </a:cxn>
                  <a:cxn ang="0">
                    <a:pos x="31" y="182"/>
                  </a:cxn>
                  <a:cxn ang="0">
                    <a:pos x="0" y="220"/>
                  </a:cxn>
                  <a:cxn ang="0">
                    <a:pos x="19" y="240"/>
                  </a:cxn>
                  <a:cxn ang="0">
                    <a:pos x="352" y="240"/>
                  </a:cxn>
                  <a:cxn ang="0">
                    <a:pos x="371" y="220"/>
                  </a:cxn>
                  <a:cxn ang="0">
                    <a:pos x="340" y="182"/>
                  </a:cxn>
                  <a:cxn ang="0">
                    <a:pos x="211" y="225"/>
                  </a:cxn>
                  <a:cxn ang="0">
                    <a:pos x="154" y="225"/>
                  </a:cxn>
                  <a:cxn ang="0">
                    <a:pos x="148" y="222"/>
                  </a:cxn>
                  <a:cxn ang="0">
                    <a:pos x="155" y="209"/>
                  </a:cxn>
                  <a:cxn ang="0">
                    <a:pos x="160" y="207"/>
                  </a:cxn>
                  <a:cxn ang="0">
                    <a:pos x="205" y="207"/>
                  </a:cxn>
                  <a:cxn ang="0">
                    <a:pos x="210" y="209"/>
                  </a:cxn>
                  <a:cxn ang="0">
                    <a:pos x="217" y="222"/>
                  </a:cxn>
                  <a:cxn ang="0">
                    <a:pos x="211" y="225"/>
                  </a:cxn>
                  <a:cxn ang="0">
                    <a:pos x="315" y="178"/>
                  </a:cxn>
                  <a:cxn ang="0">
                    <a:pos x="56" y="178"/>
                  </a:cxn>
                  <a:cxn ang="0">
                    <a:pos x="56" y="33"/>
                  </a:cxn>
                  <a:cxn ang="0">
                    <a:pos x="63" y="25"/>
                  </a:cxn>
                  <a:cxn ang="0">
                    <a:pos x="308" y="25"/>
                  </a:cxn>
                  <a:cxn ang="0">
                    <a:pos x="315" y="33"/>
                  </a:cxn>
                  <a:cxn ang="0">
                    <a:pos x="315" y="178"/>
                  </a:cxn>
                </a:cxnLst>
                <a:rect l="0" t="0" r="r" b="b"/>
                <a:pathLst>
                  <a:path w="371" h="240">
                    <a:moveTo>
                      <a:pt x="340" y="182"/>
                    </a:moveTo>
                    <a:cubicBezTo>
                      <a:pt x="340" y="16"/>
                      <a:pt x="340" y="16"/>
                      <a:pt x="340" y="16"/>
                    </a:cubicBezTo>
                    <a:cubicBezTo>
                      <a:pt x="340" y="8"/>
                      <a:pt x="333" y="0"/>
                      <a:pt x="3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8" y="0"/>
                      <a:pt x="31" y="8"/>
                      <a:pt x="31" y="16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1"/>
                      <a:pt x="9" y="240"/>
                      <a:pt x="19" y="240"/>
                    </a:cubicBezTo>
                    <a:cubicBezTo>
                      <a:pt x="352" y="240"/>
                      <a:pt x="352" y="240"/>
                      <a:pt x="352" y="240"/>
                    </a:cubicBezTo>
                    <a:cubicBezTo>
                      <a:pt x="362" y="240"/>
                      <a:pt x="371" y="231"/>
                      <a:pt x="371" y="220"/>
                    </a:cubicBezTo>
                    <a:lnTo>
                      <a:pt x="340" y="182"/>
                    </a:lnTo>
                    <a:close/>
                    <a:moveTo>
                      <a:pt x="211" y="225"/>
                    </a:moveTo>
                    <a:cubicBezTo>
                      <a:pt x="154" y="225"/>
                      <a:pt x="154" y="225"/>
                      <a:pt x="154" y="225"/>
                    </a:cubicBezTo>
                    <a:cubicBezTo>
                      <a:pt x="151" y="225"/>
                      <a:pt x="148" y="223"/>
                      <a:pt x="148" y="222"/>
                    </a:cubicBezTo>
                    <a:cubicBezTo>
                      <a:pt x="155" y="209"/>
                      <a:pt x="155" y="209"/>
                      <a:pt x="155" y="209"/>
                    </a:cubicBezTo>
                    <a:cubicBezTo>
                      <a:pt x="155" y="208"/>
                      <a:pt x="157" y="207"/>
                      <a:pt x="160" y="207"/>
                    </a:cubicBezTo>
                    <a:cubicBezTo>
                      <a:pt x="205" y="207"/>
                      <a:pt x="205" y="207"/>
                      <a:pt x="205" y="207"/>
                    </a:cubicBezTo>
                    <a:cubicBezTo>
                      <a:pt x="208" y="207"/>
                      <a:pt x="210" y="208"/>
                      <a:pt x="210" y="209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7" y="223"/>
                      <a:pt x="214" y="225"/>
                      <a:pt x="211" y="225"/>
                    </a:cubicBezTo>
                    <a:close/>
                    <a:moveTo>
                      <a:pt x="315" y="178"/>
                    </a:moveTo>
                    <a:cubicBezTo>
                      <a:pt x="56" y="178"/>
                      <a:pt x="56" y="178"/>
                      <a:pt x="56" y="17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28"/>
                      <a:pt x="59" y="25"/>
                      <a:pt x="63" y="25"/>
                    </a:cubicBezTo>
                    <a:cubicBezTo>
                      <a:pt x="308" y="25"/>
                      <a:pt x="308" y="25"/>
                      <a:pt x="308" y="25"/>
                    </a:cubicBezTo>
                    <a:cubicBezTo>
                      <a:pt x="312" y="25"/>
                      <a:pt x="315" y="28"/>
                      <a:pt x="315" y="33"/>
                    </a:cubicBezTo>
                    <a:lnTo>
                      <a:pt x="315" y="178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44" name="Freeform 27"/>
              <p:cNvSpPr>
                <a:spLocks noChangeAspect="1" noEditPoints="1"/>
              </p:cNvSpPr>
              <p:nvPr/>
            </p:nvSpPr>
            <p:spPr bwMode="black">
              <a:xfrm>
                <a:off x="4409404" y="2630689"/>
                <a:ext cx="510347" cy="328752"/>
              </a:xfrm>
              <a:custGeom>
                <a:avLst/>
                <a:gdLst/>
                <a:ahLst/>
                <a:cxnLst>
                  <a:cxn ang="0">
                    <a:pos x="340" y="182"/>
                  </a:cxn>
                  <a:cxn ang="0">
                    <a:pos x="340" y="16"/>
                  </a:cxn>
                  <a:cxn ang="0">
                    <a:pos x="324" y="0"/>
                  </a:cxn>
                  <a:cxn ang="0">
                    <a:pos x="47" y="0"/>
                  </a:cxn>
                  <a:cxn ang="0">
                    <a:pos x="31" y="16"/>
                  </a:cxn>
                  <a:cxn ang="0">
                    <a:pos x="31" y="182"/>
                  </a:cxn>
                  <a:cxn ang="0">
                    <a:pos x="0" y="220"/>
                  </a:cxn>
                  <a:cxn ang="0">
                    <a:pos x="19" y="240"/>
                  </a:cxn>
                  <a:cxn ang="0">
                    <a:pos x="352" y="240"/>
                  </a:cxn>
                  <a:cxn ang="0">
                    <a:pos x="371" y="220"/>
                  </a:cxn>
                  <a:cxn ang="0">
                    <a:pos x="340" y="182"/>
                  </a:cxn>
                  <a:cxn ang="0">
                    <a:pos x="211" y="225"/>
                  </a:cxn>
                  <a:cxn ang="0">
                    <a:pos x="154" y="225"/>
                  </a:cxn>
                  <a:cxn ang="0">
                    <a:pos x="148" y="222"/>
                  </a:cxn>
                  <a:cxn ang="0">
                    <a:pos x="155" y="209"/>
                  </a:cxn>
                  <a:cxn ang="0">
                    <a:pos x="160" y="207"/>
                  </a:cxn>
                  <a:cxn ang="0">
                    <a:pos x="205" y="207"/>
                  </a:cxn>
                  <a:cxn ang="0">
                    <a:pos x="210" y="209"/>
                  </a:cxn>
                  <a:cxn ang="0">
                    <a:pos x="217" y="222"/>
                  </a:cxn>
                  <a:cxn ang="0">
                    <a:pos x="211" y="225"/>
                  </a:cxn>
                  <a:cxn ang="0">
                    <a:pos x="315" y="178"/>
                  </a:cxn>
                  <a:cxn ang="0">
                    <a:pos x="56" y="178"/>
                  </a:cxn>
                  <a:cxn ang="0">
                    <a:pos x="56" y="33"/>
                  </a:cxn>
                  <a:cxn ang="0">
                    <a:pos x="63" y="25"/>
                  </a:cxn>
                  <a:cxn ang="0">
                    <a:pos x="308" y="25"/>
                  </a:cxn>
                  <a:cxn ang="0">
                    <a:pos x="315" y="33"/>
                  </a:cxn>
                  <a:cxn ang="0">
                    <a:pos x="315" y="178"/>
                  </a:cxn>
                </a:cxnLst>
                <a:rect l="0" t="0" r="r" b="b"/>
                <a:pathLst>
                  <a:path w="371" h="240">
                    <a:moveTo>
                      <a:pt x="340" y="182"/>
                    </a:moveTo>
                    <a:cubicBezTo>
                      <a:pt x="340" y="16"/>
                      <a:pt x="340" y="16"/>
                      <a:pt x="340" y="16"/>
                    </a:cubicBezTo>
                    <a:cubicBezTo>
                      <a:pt x="340" y="8"/>
                      <a:pt x="333" y="0"/>
                      <a:pt x="3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8" y="0"/>
                      <a:pt x="31" y="8"/>
                      <a:pt x="31" y="16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1"/>
                      <a:pt x="9" y="240"/>
                      <a:pt x="19" y="240"/>
                    </a:cubicBezTo>
                    <a:cubicBezTo>
                      <a:pt x="352" y="240"/>
                      <a:pt x="352" y="240"/>
                      <a:pt x="352" y="240"/>
                    </a:cubicBezTo>
                    <a:cubicBezTo>
                      <a:pt x="362" y="240"/>
                      <a:pt x="371" y="231"/>
                      <a:pt x="371" y="220"/>
                    </a:cubicBezTo>
                    <a:lnTo>
                      <a:pt x="340" y="182"/>
                    </a:lnTo>
                    <a:close/>
                    <a:moveTo>
                      <a:pt x="211" y="225"/>
                    </a:moveTo>
                    <a:cubicBezTo>
                      <a:pt x="154" y="225"/>
                      <a:pt x="154" y="225"/>
                      <a:pt x="154" y="225"/>
                    </a:cubicBezTo>
                    <a:cubicBezTo>
                      <a:pt x="151" y="225"/>
                      <a:pt x="148" y="223"/>
                      <a:pt x="148" y="222"/>
                    </a:cubicBezTo>
                    <a:cubicBezTo>
                      <a:pt x="155" y="209"/>
                      <a:pt x="155" y="209"/>
                      <a:pt x="155" y="209"/>
                    </a:cubicBezTo>
                    <a:cubicBezTo>
                      <a:pt x="155" y="208"/>
                      <a:pt x="157" y="207"/>
                      <a:pt x="160" y="207"/>
                    </a:cubicBezTo>
                    <a:cubicBezTo>
                      <a:pt x="205" y="207"/>
                      <a:pt x="205" y="207"/>
                      <a:pt x="205" y="207"/>
                    </a:cubicBezTo>
                    <a:cubicBezTo>
                      <a:pt x="208" y="207"/>
                      <a:pt x="210" y="208"/>
                      <a:pt x="210" y="209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7" y="223"/>
                      <a:pt x="214" y="225"/>
                      <a:pt x="211" y="225"/>
                    </a:cubicBezTo>
                    <a:close/>
                    <a:moveTo>
                      <a:pt x="315" y="178"/>
                    </a:moveTo>
                    <a:cubicBezTo>
                      <a:pt x="56" y="178"/>
                      <a:pt x="56" y="178"/>
                      <a:pt x="56" y="17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28"/>
                      <a:pt x="59" y="25"/>
                      <a:pt x="63" y="25"/>
                    </a:cubicBezTo>
                    <a:cubicBezTo>
                      <a:pt x="308" y="25"/>
                      <a:pt x="308" y="25"/>
                      <a:pt x="308" y="25"/>
                    </a:cubicBezTo>
                    <a:cubicBezTo>
                      <a:pt x="312" y="25"/>
                      <a:pt x="315" y="28"/>
                      <a:pt x="315" y="33"/>
                    </a:cubicBezTo>
                    <a:lnTo>
                      <a:pt x="315" y="178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7260572" y="4775528"/>
              <a:ext cx="988291" cy="824345"/>
              <a:chOff x="8395840" y="5569527"/>
              <a:chExt cx="988291" cy="824345"/>
            </a:xfrm>
          </p:grpSpPr>
          <p:cxnSp>
            <p:nvCxnSpPr>
              <p:cNvPr id="139" name="Straight Arrow Connector 138"/>
              <p:cNvCxnSpPr/>
              <p:nvPr/>
            </p:nvCxnSpPr>
            <p:spPr>
              <a:xfrm>
                <a:off x="8395840" y="5569527"/>
                <a:ext cx="988291" cy="123160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headEnd type="none" w="med" len="sm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Arrow Connector 139"/>
              <p:cNvCxnSpPr/>
              <p:nvPr/>
            </p:nvCxnSpPr>
            <p:spPr>
              <a:xfrm flipV="1">
                <a:off x="8395840" y="5692688"/>
                <a:ext cx="988291" cy="298896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headEnd type="none" w="med" len="sm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Arrow Connector 140"/>
              <p:cNvCxnSpPr/>
              <p:nvPr/>
            </p:nvCxnSpPr>
            <p:spPr>
              <a:xfrm flipV="1">
                <a:off x="8395840" y="5692688"/>
                <a:ext cx="988291" cy="701184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headEnd type="none" w="med" len="sm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/>
            <p:cNvGrpSpPr/>
            <p:nvPr/>
          </p:nvGrpSpPr>
          <p:grpSpPr>
            <a:xfrm>
              <a:off x="9939339" y="4093984"/>
              <a:ext cx="576145" cy="712232"/>
              <a:chOff x="9944860" y="5187045"/>
              <a:chExt cx="576144" cy="712232"/>
            </a:xfrm>
          </p:grpSpPr>
          <p:sp>
            <p:nvSpPr>
              <p:cNvPr id="137" name="Freeform 6"/>
              <p:cNvSpPr>
                <a:spLocks noChangeAspect="1" noEditPoints="1"/>
              </p:cNvSpPr>
              <p:nvPr/>
            </p:nvSpPr>
            <p:spPr bwMode="black">
              <a:xfrm>
                <a:off x="10192459" y="5526355"/>
                <a:ext cx="328545" cy="332665"/>
              </a:xfrm>
              <a:custGeom>
                <a:avLst/>
                <a:gdLst>
                  <a:gd name="T0" fmla="*/ 84 w 84"/>
                  <a:gd name="T1" fmla="*/ 43 h 85"/>
                  <a:gd name="T2" fmla="*/ 0 w 84"/>
                  <a:gd name="T3" fmla="*/ 43 h 85"/>
                  <a:gd name="T4" fmla="*/ 76 w 84"/>
                  <a:gd name="T5" fmla="*/ 27 h 85"/>
                  <a:gd name="T6" fmla="*/ 65 w 84"/>
                  <a:gd name="T7" fmla="*/ 40 h 85"/>
                  <a:gd name="T8" fmla="*/ 76 w 84"/>
                  <a:gd name="T9" fmla="*/ 27 h 85"/>
                  <a:gd name="T10" fmla="*/ 45 w 84"/>
                  <a:gd name="T11" fmla="*/ 27 h 85"/>
                  <a:gd name="T12" fmla="*/ 62 w 84"/>
                  <a:gd name="T13" fmla="*/ 40 h 85"/>
                  <a:gd name="T14" fmla="*/ 40 w 84"/>
                  <a:gd name="T15" fmla="*/ 27 h 85"/>
                  <a:gd name="T16" fmla="*/ 21 w 84"/>
                  <a:gd name="T17" fmla="*/ 40 h 85"/>
                  <a:gd name="T18" fmla="*/ 40 w 84"/>
                  <a:gd name="T19" fmla="*/ 27 h 85"/>
                  <a:gd name="T20" fmla="*/ 8 w 84"/>
                  <a:gd name="T21" fmla="*/ 27 h 85"/>
                  <a:gd name="T22" fmla="*/ 19 w 84"/>
                  <a:gd name="T23" fmla="*/ 40 h 85"/>
                  <a:gd name="T24" fmla="*/ 10 w 84"/>
                  <a:gd name="T25" fmla="*/ 21 h 85"/>
                  <a:gd name="T26" fmla="*/ 30 w 84"/>
                  <a:gd name="T27" fmla="*/ 6 h 85"/>
                  <a:gd name="T28" fmla="*/ 25 w 84"/>
                  <a:gd name="T29" fmla="*/ 21 h 85"/>
                  <a:gd name="T30" fmla="*/ 40 w 84"/>
                  <a:gd name="T31" fmla="*/ 4 h 85"/>
                  <a:gd name="T32" fmla="*/ 45 w 84"/>
                  <a:gd name="T33" fmla="*/ 21 h 85"/>
                  <a:gd name="T34" fmla="*/ 45 w 84"/>
                  <a:gd name="T35" fmla="*/ 5 h 85"/>
                  <a:gd name="T36" fmla="*/ 62 w 84"/>
                  <a:gd name="T37" fmla="*/ 21 h 85"/>
                  <a:gd name="T38" fmla="*/ 54 w 84"/>
                  <a:gd name="T39" fmla="*/ 6 h 85"/>
                  <a:gd name="T40" fmla="*/ 80 w 84"/>
                  <a:gd name="T41" fmla="*/ 45 h 85"/>
                  <a:gd name="T42" fmla="*/ 63 w 84"/>
                  <a:gd name="T43" fmla="*/ 59 h 85"/>
                  <a:gd name="T44" fmla="*/ 80 w 84"/>
                  <a:gd name="T45" fmla="*/ 45 h 85"/>
                  <a:gd name="T46" fmla="*/ 45 w 84"/>
                  <a:gd name="T47" fmla="*/ 45 h 85"/>
                  <a:gd name="T48" fmla="*/ 61 w 84"/>
                  <a:gd name="T49" fmla="*/ 59 h 85"/>
                  <a:gd name="T50" fmla="*/ 40 w 84"/>
                  <a:gd name="T51" fmla="*/ 45 h 85"/>
                  <a:gd name="T52" fmla="*/ 23 w 84"/>
                  <a:gd name="T53" fmla="*/ 59 h 85"/>
                  <a:gd name="T54" fmla="*/ 40 w 84"/>
                  <a:gd name="T55" fmla="*/ 45 h 85"/>
                  <a:gd name="T56" fmla="*/ 4 w 84"/>
                  <a:gd name="T57" fmla="*/ 45 h 85"/>
                  <a:gd name="T58" fmla="*/ 21 w 84"/>
                  <a:gd name="T59" fmla="*/ 59 h 85"/>
                  <a:gd name="T60" fmla="*/ 45 w 84"/>
                  <a:gd name="T61" fmla="*/ 64 h 85"/>
                  <a:gd name="T62" fmla="*/ 59 w 84"/>
                  <a:gd name="T63" fmla="*/ 64 h 85"/>
                  <a:gd name="T64" fmla="*/ 40 w 84"/>
                  <a:gd name="T65" fmla="*/ 81 h 85"/>
                  <a:gd name="T66" fmla="*/ 25 w 84"/>
                  <a:gd name="T67" fmla="*/ 64 h 85"/>
                  <a:gd name="T68" fmla="*/ 73 w 84"/>
                  <a:gd name="T69" fmla="*/ 64 h 85"/>
                  <a:gd name="T70" fmla="*/ 54 w 84"/>
                  <a:gd name="T71" fmla="*/ 79 h 85"/>
                  <a:gd name="T72" fmla="*/ 22 w 84"/>
                  <a:gd name="T73" fmla="*/ 64 h 85"/>
                  <a:gd name="T74" fmla="*/ 30 w 84"/>
                  <a:gd name="T75" fmla="*/ 7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4" h="85">
                    <a:moveTo>
                      <a:pt x="42" y="0"/>
                    </a:moveTo>
                    <a:cubicBezTo>
                      <a:pt x="65" y="0"/>
                      <a:pt x="84" y="19"/>
                      <a:pt x="84" y="43"/>
                    </a:cubicBezTo>
                    <a:cubicBezTo>
                      <a:pt x="84" y="66"/>
                      <a:pt x="65" y="85"/>
                      <a:pt x="42" y="85"/>
                    </a:cubicBezTo>
                    <a:cubicBezTo>
                      <a:pt x="19" y="85"/>
                      <a:pt x="0" y="66"/>
                      <a:pt x="0" y="43"/>
                    </a:cubicBezTo>
                    <a:cubicBezTo>
                      <a:pt x="0" y="19"/>
                      <a:pt x="19" y="0"/>
                      <a:pt x="42" y="0"/>
                    </a:cubicBezTo>
                    <a:close/>
                    <a:moveTo>
                      <a:pt x="76" y="27"/>
                    </a:moveTo>
                    <a:cubicBezTo>
                      <a:pt x="63" y="27"/>
                      <a:pt x="63" y="27"/>
                      <a:pt x="63" y="27"/>
                    </a:cubicBezTo>
                    <a:cubicBezTo>
                      <a:pt x="64" y="31"/>
                      <a:pt x="65" y="35"/>
                      <a:pt x="65" y="40"/>
                    </a:cubicBezTo>
                    <a:cubicBezTo>
                      <a:pt x="80" y="40"/>
                      <a:pt x="80" y="40"/>
                      <a:pt x="80" y="40"/>
                    </a:cubicBezTo>
                    <a:cubicBezTo>
                      <a:pt x="79" y="35"/>
                      <a:pt x="78" y="31"/>
                      <a:pt x="76" y="27"/>
                    </a:cubicBezTo>
                    <a:close/>
                    <a:moveTo>
                      <a:pt x="61" y="27"/>
                    </a:move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2" y="35"/>
                      <a:pt x="62" y="31"/>
                      <a:pt x="61" y="27"/>
                    </a:cubicBezTo>
                    <a:close/>
                    <a:moveTo>
                      <a:pt x="40" y="27"/>
                    </a:moveTo>
                    <a:cubicBezTo>
                      <a:pt x="23" y="27"/>
                      <a:pt x="23" y="27"/>
                      <a:pt x="23" y="27"/>
                    </a:cubicBezTo>
                    <a:cubicBezTo>
                      <a:pt x="22" y="31"/>
                      <a:pt x="22" y="35"/>
                      <a:pt x="21" y="40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0" y="27"/>
                      <a:pt x="40" y="27"/>
                      <a:pt x="40" y="27"/>
                    </a:cubicBezTo>
                    <a:close/>
                    <a:moveTo>
                      <a:pt x="21" y="27"/>
                    </a:moveTo>
                    <a:cubicBezTo>
                      <a:pt x="8" y="27"/>
                      <a:pt x="8" y="27"/>
                      <a:pt x="8" y="27"/>
                    </a:cubicBezTo>
                    <a:cubicBezTo>
                      <a:pt x="6" y="31"/>
                      <a:pt x="5" y="35"/>
                      <a:pt x="4" y="40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35"/>
                      <a:pt x="20" y="31"/>
                      <a:pt x="21" y="27"/>
                    </a:cubicBezTo>
                    <a:close/>
                    <a:moveTo>
                      <a:pt x="10" y="21"/>
                    </a:moveTo>
                    <a:cubicBezTo>
                      <a:pt x="22" y="21"/>
                      <a:pt x="22" y="21"/>
                      <a:pt x="22" y="21"/>
                    </a:cubicBezTo>
                    <a:cubicBezTo>
                      <a:pt x="24" y="15"/>
                      <a:pt x="27" y="10"/>
                      <a:pt x="30" y="6"/>
                    </a:cubicBezTo>
                    <a:cubicBezTo>
                      <a:pt x="22" y="9"/>
                      <a:pt x="15" y="14"/>
                      <a:pt x="10" y="21"/>
                    </a:cubicBezTo>
                    <a:close/>
                    <a:moveTo>
                      <a:pt x="25" y="21"/>
                    </a:move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33" y="6"/>
                      <a:pt x="28" y="12"/>
                      <a:pt x="25" y="21"/>
                    </a:cubicBezTo>
                    <a:close/>
                    <a:moveTo>
                      <a:pt x="45" y="21"/>
                    </a:move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2"/>
                      <a:pt x="51" y="6"/>
                      <a:pt x="45" y="5"/>
                    </a:cubicBezTo>
                    <a:cubicBezTo>
                      <a:pt x="45" y="21"/>
                      <a:pt x="45" y="21"/>
                      <a:pt x="45" y="21"/>
                    </a:cubicBezTo>
                    <a:close/>
                    <a:moveTo>
                      <a:pt x="62" y="21"/>
                    </a:moveTo>
                    <a:cubicBezTo>
                      <a:pt x="73" y="21"/>
                      <a:pt x="73" y="21"/>
                      <a:pt x="73" y="21"/>
                    </a:cubicBezTo>
                    <a:cubicBezTo>
                      <a:pt x="69" y="14"/>
                      <a:pt x="62" y="9"/>
                      <a:pt x="54" y="6"/>
                    </a:cubicBezTo>
                    <a:cubicBezTo>
                      <a:pt x="57" y="10"/>
                      <a:pt x="60" y="15"/>
                      <a:pt x="62" y="21"/>
                    </a:cubicBezTo>
                    <a:close/>
                    <a:moveTo>
                      <a:pt x="80" y="45"/>
                    </a:moveTo>
                    <a:cubicBezTo>
                      <a:pt x="65" y="45"/>
                      <a:pt x="65" y="45"/>
                      <a:pt x="65" y="45"/>
                    </a:cubicBezTo>
                    <a:cubicBezTo>
                      <a:pt x="65" y="50"/>
                      <a:pt x="64" y="54"/>
                      <a:pt x="63" y="59"/>
                    </a:cubicBezTo>
                    <a:cubicBezTo>
                      <a:pt x="76" y="59"/>
                      <a:pt x="76" y="59"/>
                      <a:pt x="76" y="59"/>
                    </a:cubicBezTo>
                    <a:cubicBezTo>
                      <a:pt x="78" y="54"/>
                      <a:pt x="79" y="50"/>
                      <a:pt x="80" y="45"/>
                    </a:cubicBezTo>
                    <a:close/>
                    <a:moveTo>
                      <a:pt x="62" y="45"/>
                    </a:moveTo>
                    <a:cubicBezTo>
                      <a:pt x="45" y="45"/>
                      <a:pt x="45" y="45"/>
                      <a:pt x="45" y="45"/>
                    </a:cubicBezTo>
                    <a:cubicBezTo>
                      <a:pt x="45" y="59"/>
                      <a:pt x="45" y="59"/>
                      <a:pt x="45" y="59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2" y="54"/>
                      <a:pt x="62" y="50"/>
                      <a:pt x="62" y="45"/>
                    </a:cubicBezTo>
                    <a:close/>
                    <a:moveTo>
                      <a:pt x="40" y="45"/>
                    </a:moveTo>
                    <a:cubicBezTo>
                      <a:pt x="21" y="45"/>
                      <a:pt x="21" y="45"/>
                      <a:pt x="21" y="45"/>
                    </a:cubicBezTo>
                    <a:cubicBezTo>
                      <a:pt x="22" y="50"/>
                      <a:pt x="22" y="54"/>
                      <a:pt x="23" y="59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45"/>
                      <a:pt x="40" y="45"/>
                      <a:pt x="40" y="45"/>
                    </a:cubicBezTo>
                    <a:close/>
                    <a:moveTo>
                      <a:pt x="19" y="45"/>
                    </a:moveTo>
                    <a:cubicBezTo>
                      <a:pt x="4" y="45"/>
                      <a:pt x="4" y="45"/>
                      <a:pt x="4" y="45"/>
                    </a:cubicBezTo>
                    <a:cubicBezTo>
                      <a:pt x="5" y="50"/>
                      <a:pt x="6" y="54"/>
                      <a:pt x="8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0" y="54"/>
                      <a:pt x="19" y="50"/>
                      <a:pt x="19" y="45"/>
                    </a:cubicBezTo>
                    <a:close/>
                    <a:moveTo>
                      <a:pt x="45" y="64"/>
                    </a:moveTo>
                    <a:cubicBezTo>
                      <a:pt x="45" y="81"/>
                      <a:pt x="45" y="81"/>
                      <a:pt x="45" y="81"/>
                    </a:cubicBezTo>
                    <a:cubicBezTo>
                      <a:pt x="51" y="79"/>
                      <a:pt x="56" y="73"/>
                      <a:pt x="59" y="64"/>
                    </a:cubicBezTo>
                    <a:cubicBezTo>
                      <a:pt x="45" y="64"/>
                      <a:pt x="45" y="64"/>
                      <a:pt x="45" y="64"/>
                    </a:cubicBezTo>
                    <a:close/>
                    <a:moveTo>
                      <a:pt x="40" y="81"/>
                    </a:moveTo>
                    <a:cubicBezTo>
                      <a:pt x="40" y="64"/>
                      <a:pt x="40" y="64"/>
                      <a:pt x="40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28" y="73"/>
                      <a:pt x="33" y="79"/>
                      <a:pt x="40" y="81"/>
                    </a:cubicBezTo>
                    <a:close/>
                    <a:moveTo>
                      <a:pt x="73" y="64"/>
                    </a:moveTo>
                    <a:cubicBezTo>
                      <a:pt x="62" y="64"/>
                      <a:pt x="62" y="64"/>
                      <a:pt x="62" y="64"/>
                    </a:cubicBezTo>
                    <a:cubicBezTo>
                      <a:pt x="60" y="70"/>
                      <a:pt x="57" y="75"/>
                      <a:pt x="54" y="79"/>
                    </a:cubicBezTo>
                    <a:cubicBezTo>
                      <a:pt x="62" y="76"/>
                      <a:pt x="69" y="71"/>
                      <a:pt x="73" y="64"/>
                    </a:cubicBezTo>
                    <a:close/>
                    <a:moveTo>
                      <a:pt x="22" y="64"/>
                    </a:moveTo>
                    <a:cubicBezTo>
                      <a:pt x="11" y="64"/>
                      <a:pt x="11" y="64"/>
                      <a:pt x="11" y="64"/>
                    </a:cubicBezTo>
                    <a:cubicBezTo>
                      <a:pt x="15" y="71"/>
                      <a:pt x="22" y="76"/>
                      <a:pt x="30" y="79"/>
                    </a:cubicBezTo>
                    <a:cubicBezTo>
                      <a:pt x="27" y="75"/>
                      <a:pt x="24" y="70"/>
                      <a:pt x="22" y="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pic>
            <p:nvPicPr>
              <p:cNvPr id="138" name="Picture 6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100000"/>
              </a:blip>
              <a:srcRect l="24157" r="25929"/>
              <a:stretch/>
            </p:blipFill>
            <p:spPr bwMode="auto">
              <a:xfrm>
                <a:off x="9944860" y="5187045"/>
                <a:ext cx="355510" cy="712232"/>
              </a:xfrm>
              <a:prstGeom prst="rect">
                <a:avLst/>
              </a:prstGeom>
              <a:noFill/>
            </p:spPr>
          </p:pic>
        </p:grpSp>
        <p:pic>
          <p:nvPicPr>
            <p:cNvPr id="11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100000" contrast="100000"/>
            </a:blip>
            <a:srcRect l="9422" t="9591" r="8195" b="13220"/>
            <a:stretch/>
          </p:blipFill>
          <p:spPr bwMode="auto">
            <a:xfrm>
              <a:off x="9652451" y="4109379"/>
              <a:ext cx="733110" cy="629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12" name="Group 11"/>
            <p:cNvGrpSpPr/>
            <p:nvPr/>
          </p:nvGrpSpPr>
          <p:grpSpPr>
            <a:xfrm>
              <a:off x="11160877" y="4068160"/>
              <a:ext cx="604285" cy="712232"/>
              <a:chOff x="4647795" y="6723311"/>
              <a:chExt cx="604285" cy="712232"/>
            </a:xfrm>
          </p:grpSpPr>
          <p:pic>
            <p:nvPicPr>
              <p:cNvPr id="135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4EB1E4"/>
                  </a:clrFrom>
                  <a:clrTo>
                    <a:srgbClr val="4EB1E4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18743" y="7037593"/>
                <a:ext cx="333337" cy="30258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36" name="Picture 6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100000"/>
              </a:blip>
              <a:srcRect l="24157" r="25929"/>
              <a:stretch/>
            </p:blipFill>
            <p:spPr bwMode="auto">
              <a:xfrm>
                <a:off x="4647795" y="6723311"/>
                <a:ext cx="355510" cy="712232"/>
              </a:xfrm>
              <a:prstGeom prst="rect">
                <a:avLst/>
              </a:prstGeom>
              <a:noFill/>
            </p:spPr>
          </p:pic>
        </p:grpSp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100000" contrast="100000"/>
            </a:blip>
            <a:srcRect l="9422" t="9591" r="8195" b="13220"/>
            <a:stretch/>
          </p:blipFill>
          <p:spPr bwMode="auto">
            <a:xfrm>
              <a:off x="10894133" y="4075407"/>
              <a:ext cx="733110" cy="629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4" name="Rectangle 13"/>
            <p:cNvSpPr/>
            <p:nvPr/>
          </p:nvSpPr>
          <p:spPr>
            <a:xfrm>
              <a:off x="10744454" y="4727222"/>
              <a:ext cx="1201662" cy="339071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SQL Server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9576178" y="4737103"/>
              <a:ext cx="1081800" cy="339071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IIS Servers</a:t>
              </a:r>
            </a:p>
          </p:txBody>
        </p:sp>
        <p:grpSp>
          <p:nvGrpSpPr>
            <p:cNvPr id="16" name="Group 15"/>
            <p:cNvGrpSpPr/>
            <p:nvPr/>
          </p:nvGrpSpPr>
          <p:grpSpPr bwMode="black">
            <a:xfrm>
              <a:off x="8239084" y="4581584"/>
              <a:ext cx="830326" cy="640637"/>
              <a:chOff x="7010400" y="2133600"/>
              <a:chExt cx="1379538" cy="1065213"/>
            </a:xfrm>
            <a:solidFill>
              <a:schemeClr val="tx2"/>
            </a:solidFill>
          </p:grpSpPr>
          <p:sp>
            <p:nvSpPr>
              <p:cNvPr id="88" name="Freeform 161"/>
              <p:cNvSpPr>
                <a:spLocks/>
              </p:cNvSpPr>
              <p:nvPr/>
            </p:nvSpPr>
            <p:spPr bwMode="black">
              <a:xfrm>
                <a:off x="7189788" y="2416175"/>
                <a:ext cx="57150" cy="49213"/>
              </a:xfrm>
              <a:custGeom>
                <a:avLst/>
                <a:gdLst>
                  <a:gd name="T0" fmla="*/ 36 w 36"/>
                  <a:gd name="T1" fmla="*/ 15 h 31"/>
                  <a:gd name="T2" fmla="*/ 28 w 36"/>
                  <a:gd name="T3" fmla="*/ 0 h 31"/>
                  <a:gd name="T4" fmla="*/ 0 w 36"/>
                  <a:gd name="T5" fmla="*/ 16 h 31"/>
                  <a:gd name="T6" fmla="*/ 8 w 36"/>
                  <a:gd name="T7" fmla="*/ 31 h 31"/>
                  <a:gd name="T8" fmla="*/ 36 w 3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1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1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9" name="Freeform 162"/>
              <p:cNvSpPr>
                <a:spLocks/>
              </p:cNvSpPr>
              <p:nvPr/>
            </p:nvSpPr>
            <p:spPr bwMode="black">
              <a:xfrm>
                <a:off x="7539038" y="2225675"/>
                <a:ext cx="57150" cy="47625"/>
              </a:xfrm>
              <a:custGeom>
                <a:avLst/>
                <a:gdLst>
                  <a:gd name="T0" fmla="*/ 36 w 36"/>
                  <a:gd name="T1" fmla="*/ 14 h 30"/>
                  <a:gd name="T2" fmla="*/ 28 w 36"/>
                  <a:gd name="T3" fmla="*/ 0 h 30"/>
                  <a:gd name="T4" fmla="*/ 0 w 36"/>
                  <a:gd name="T5" fmla="*/ 15 h 30"/>
                  <a:gd name="T6" fmla="*/ 8 w 36"/>
                  <a:gd name="T7" fmla="*/ 30 h 30"/>
                  <a:gd name="T8" fmla="*/ 36 w 36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4"/>
                    </a:moveTo>
                    <a:lnTo>
                      <a:pt x="28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6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0" name="Freeform 163"/>
              <p:cNvSpPr>
                <a:spLocks/>
              </p:cNvSpPr>
              <p:nvPr/>
            </p:nvSpPr>
            <p:spPr bwMode="black">
              <a:xfrm>
                <a:off x="7329488" y="2339975"/>
                <a:ext cx="57150" cy="47625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6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1" name="Freeform 164"/>
              <p:cNvSpPr>
                <a:spLocks/>
              </p:cNvSpPr>
              <p:nvPr/>
            </p:nvSpPr>
            <p:spPr bwMode="black">
              <a:xfrm>
                <a:off x="7399338" y="2301875"/>
                <a:ext cx="57150" cy="47625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5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2" name="Freeform 165"/>
              <p:cNvSpPr>
                <a:spLocks/>
              </p:cNvSpPr>
              <p:nvPr/>
            </p:nvSpPr>
            <p:spPr bwMode="black">
              <a:xfrm>
                <a:off x="7469188" y="2263775"/>
                <a:ext cx="58738" cy="47625"/>
              </a:xfrm>
              <a:custGeom>
                <a:avLst/>
                <a:gdLst>
                  <a:gd name="T0" fmla="*/ 37 w 37"/>
                  <a:gd name="T1" fmla="*/ 14 h 30"/>
                  <a:gd name="T2" fmla="*/ 29 w 37"/>
                  <a:gd name="T3" fmla="*/ 0 h 30"/>
                  <a:gd name="T4" fmla="*/ 0 w 37"/>
                  <a:gd name="T5" fmla="*/ 15 h 30"/>
                  <a:gd name="T6" fmla="*/ 8 w 37"/>
                  <a:gd name="T7" fmla="*/ 30 h 30"/>
                  <a:gd name="T8" fmla="*/ 37 w 37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37" y="14"/>
                    </a:moveTo>
                    <a:lnTo>
                      <a:pt x="29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3" name="Freeform 166"/>
              <p:cNvSpPr>
                <a:spLocks/>
              </p:cNvSpPr>
              <p:nvPr/>
            </p:nvSpPr>
            <p:spPr bwMode="black">
              <a:xfrm>
                <a:off x="7011988" y="2725738"/>
                <a:ext cx="31750" cy="52388"/>
              </a:xfrm>
              <a:custGeom>
                <a:avLst/>
                <a:gdLst>
                  <a:gd name="T0" fmla="*/ 40 w 41"/>
                  <a:gd name="T1" fmla="*/ 60 h 71"/>
                  <a:gd name="T2" fmla="*/ 36 w 41"/>
                  <a:gd name="T3" fmla="*/ 7 h 71"/>
                  <a:gd name="T4" fmla="*/ 35 w 41"/>
                  <a:gd name="T5" fmla="*/ 0 h 71"/>
                  <a:gd name="T6" fmla="*/ 0 w 41"/>
                  <a:gd name="T7" fmla="*/ 2 h 71"/>
                  <a:gd name="T8" fmla="*/ 0 w 41"/>
                  <a:gd name="T9" fmla="*/ 10 h 71"/>
                  <a:gd name="T10" fmla="*/ 5 w 41"/>
                  <a:gd name="T11" fmla="*/ 64 h 71"/>
                  <a:gd name="T12" fmla="*/ 6 w 41"/>
                  <a:gd name="T13" fmla="*/ 71 h 71"/>
                  <a:gd name="T14" fmla="*/ 41 w 41"/>
                  <a:gd name="T15" fmla="*/ 67 h 71"/>
                  <a:gd name="T16" fmla="*/ 40 w 41"/>
                  <a:gd name="T17" fmla="*/ 6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71">
                    <a:moveTo>
                      <a:pt x="40" y="60"/>
                    </a:moveTo>
                    <a:cubicBezTo>
                      <a:pt x="38" y="45"/>
                      <a:pt x="37" y="27"/>
                      <a:pt x="36" y="7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29"/>
                      <a:pt x="3" y="48"/>
                      <a:pt x="5" y="64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41" y="67"/>
                      <a:pt x="41" y="67"/>
                      <a:pt x="41" y="67"/>
                    </a:cubicBezTo>
                    <a:lnTo>
                      <a:pt x="40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4" name="Freeform 167"/>
              <p:cNvSpPr>
                <a:spLocks/>
              </p:cNvSpPr>
              <p:nvPr/>
            </p:nvSpPr>
            <p:spPr bwMode="black">
              <a:xfrm>
                <a:off x="7116763" y="2451100"/>
                <a:ext cx="57150" cy="31750"/>
              </a:xfrm>
              <a:custGeom>
                <a:avLst/>
                <a:gdLst>
                  <a:gd name="T0" fmla="*/ 51 w 77"/>
                  <a:gd name="T1" fmla="*/ 44 h 44"/>
                  <a:gd name="T2" fmla="*/ 70 w 77"/>
                  <a:gd name="T3" fmla="*/ 41 h 44"/>
                  <a:gd name="T4" fmla="*/ 77 w 77"/>
                  <a:gd name="T5" fmla="*/ 39 h 44"/>
                  <a:gd name="T6" fmla="*/ 67 w 77"/>
                  <a:gd name="T7" fmla="*/ 5 h 44"/>
                  <a:gd name="T8" fmla="*/ 60 w 77"/>
                  <a:gd name="T9" fmla="*/ 8 h 44"/>
                  <a:gd name="T10" fmla="*/ 18 w 77"/>
                  <a:gd name="T11" fmla="*/ 2 h 44"/>
                  <a:gd name="T12" fmla="*/ 11 w 77"/>
                  <a:gd name="T13" fmla="*/ 0 h 44"/>
                  <a:gd name="T14" fmla="*/ 0 w 77"/>
                  <a:gd name="T15" fmla="*/ 33 h 44"/>
                  <a:gd name="T16" fmla="*/ 7 w 77"/>
                  <a:gd name="T17" fmla="*/ 36 h 44"/>
                  <a:gd name="T18" fmla="*/ 51 w 77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44">
                    <a:moveTo>
                      <a:pt x="51" y="44"/>
                    </a:moveTo>
                    <a:cubicBezTo>
                      <a:pt x="58" y="44"/>
                      <a:pt x="64" y="43"/>
                      <a:pt x="70" y="41"/>
                    </a:cubicBezTo>
                    <a:cubicBezTo>
                      <a:pt x="77" y="39"/>
                      <a:pt x="77" y="39"/>
                      <a:pt x="77" y="39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51" y="10"/>
                      <a:pt x="38" y="8"/>
                      <a:pt x="18" y="2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25" y="41"/>
                      <a:pt x="39" y="44"/>
                      <a:pt x="51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5" name="Freeform 168"/>
              <p:cNvSpPr>
                <a:spLocks/>
              </p:cNvSpPr>
              <p:nvPr/>
            </p:nvSpPr>
            <p:spPr bwMode="black">
              <a:xfrm>
                <a:off x="7010400" y="2646363"/>
                <a:ext cx="26988" cy="52388"/>
              </a:xfrm>
              <a:custGeom>
                <a:avLst/>
                <a:gdLst>
                  <a:gd name="T0" fmla="*/ 36 w 36"/>
                  <a:gd name="T1" fmla="*/ 61 h 70"/>
                  <a:gd name="T2" fmla="*/ 35 w 36"/>
                  <a:gd name="T3" fmla="*/ 22 h 70"/>
                  <a:gd name="T4" fmla="*/ 35 w 36"/>
                  <a:gd name="T5" fmla="*/ 8 h 70"/>
                  <a:gd name="T6" fmla="*/ 35 w 36"/>
                  <a:gd name="T7" fmla="*/ 1 h 70"/>
                  <a:gd name="T8" fmla="*/ 0 w 36"/>
                  <a:gd name="T9" fmla="*/ 0 h 70"/>
                  <a:gd name="T10" fmla="*/ 0 w 36"/>
                  <a:gd name="T11" fmla="*/ 8 h 70"/>
                  <a:gd name="T12" fmla="*/ 0 w 36"/>
                  <a:gd name="T13" fmla="*/ 22 h 70"/>
                  <a:gd name="T14" fmla="*/ 1 w 36"/>
                  <a:gd name="T15" fmla="*/ 62 h 70"/>
                  <a:gd name="T16" fmla="*/ 1 w 36"/>
                  <a:gd name="T17" fmla="*/ 70 h 70"/>
                  <a:gd name="T18" fmla="*/ 36 w 36"/>
                  <a:gd name="T19" fmla="*/ 68 h 70"/>
                  <a:gd name="T20" fmla="*/ 36 w 36"/>
                  <a:gd name="T21" fmla="*/ 61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" h="70">
                    <a:moveTo>
                      <a:pt x="36" y="61"/>
                    </a:moveTo>
                    <a:cubicBezTo>
                      <a:pt x="35" y="47"/>
                      <a:pt x="35" y="34"/>
                      <a:pt x="35" y="22"/>
                    </a:cubicBezTo>
                    <a:cubicBezTo>
                      <a:pt x="35" y="17"/>
                      <a:pt x="35" y="13"/>
                      <a:pt x="35" y="8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2"/>
                      <a:pt x="0" y="17"/>
                      <a:pt x="0" y="22"/>
                    </a:cubicBezTo>
                    <a:cubicBezTo>
                      <a:pt x="0" y="34"/>
                      <a:pt x="0" y="48"/>
                      <a:pt x="1" y="62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6" y="68"/>
                      <a:pt x="36" y="68"/>
                      <a:pt x="36" y="68"/>
                    </a:cubicBezTo>
                    <a:lnTo>
                      <a:pt x="36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6" name="Freeform 169"/>
              <p:cNvSpPr>
                <a:spLocks/>
              </p:cNvSpPr>
              <p:nvPr/>
            </p:nvSpPr>
            <p:spPr bwMode="black">
              <a:xfrm>
                <a:off x="7608888" y="2187575"/>
                <a:ext cx="58738" cy="47625"/>
              </a:xfrm>
              <a:custGeom>
                <a:avLst/>
                <a:gdLst>
                  <a:gd name="T0" fmla="*/ 37 w 37"/>
                  <a:gd name="T1" fmla="*/ 14 h 30"/>
                  <a:gd name="T2" fmla="*/ 29 w 37"/>
                  <a:gd name="T3" fmla="*/ 0 h 30"/>
                  <a:gd name="T4" fmla="*/ 0 w 37"/>
                  <a:gd name="T5" fmla="*/ 15 h 30"/>
                  <a:gd name="T6" fmla="*/ 8 w 37"/>
                  <a:gd name="T7" fmla="*/ 30 h 30"/>
                  <a:gd name="T8" fmla="*/ 37 w 37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37" y="14"/>
                    </a:moveTo>
                    <a:lnTo>
                      <a:pt x="29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7" name="Freeform 170"/>
              <p:cNvSpPr>
                <a:spLocks/>
              </p:cNvSpPr>
              <p:nvPr/>
            </p:nvSpPr>
            <p:spPr bwMode="black">
              <a:xfrm>
                <a:off x="7011988" y="2566988"/>
                <a:ext cx="34925" cy="53975"/>
              </a:xfrm>
              <a:custGeom>
                <a:avLst/>
                <a:gdLst>
                  <a:gd name="T0" fmla="*/ 36 w 46"/>
                  <a:gd name="T1" fmla="*/ 64 h 72"/>
                  <a:gd name="T2" fmla="*/ 37 w 46"/>
                  <a:gd name="T3" fmla="*/ 61 h 72"/>
                  <a:gd name="T4" fmla="*/ 46 w 46"/>
                  <a:gd name="T5" fmla="*/ 21 h 72"/>
                  <a:gd name="T6" fmla="*/ 46 w 46"/>
                  <a:gd name="T7" fmla="*/ 7 h 72"/>
                  <a:gd name="T8" fmla="*/ 45 w 46"/>
                  <a:gd name="T9" fmla="*/ 0 h 72"/>
                  <a:gd name="T10" fmla="*/ 10 w 46"/>
                  <a:gd name="T11" fmla="*/ 2 h 72"/>
                  <a:gd name="T12" fmla="*/ 11 w 46"/>
                  <a:gd name="T13" fmla="*/ 10 h 72"/>
                  <a:gd name="T14" fmla="*/ 11 w 46"/>
                  <a:gd name="T15" fmla="*/ 21 h 72"/>
                  <a:gd name="T16" fmla="*/ 8 w 46"/>
                  <a:gd name="T17" fmla="*/ 42 h 72"/>
                  <a:gd name="T18" fmla="*/ 2 w 46"/>
                  <a:gd name="T19" fmla="*/ 56 h 72"/>
                  <a:gd name="T20" fmla="*/ 0 w 46"/>
                  <a:gd name="T21" fmla="*/ 63 h 72"/>
                  <a:gd name="T22" fmla="*/ 34 w 46"/>
                  <a:gd name="T23" fmla="*/ 72 h 72"/>
                  <a:gd name="T24" fmla="*/ 36 w 46"/>
                  <a:gd name="T25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72">
                    <a:moveTo>
                      <a:pt x="36" y="64"/>
                    </a:moveTo>
                    <a:cubicBezTo>
                      <a:pt x="37" y="62"/>
                      <a:pt x="37" y="61"/>
                      <a:pt x="37" y="61"/>
                    </a:cubicBezTo>
                    <a:cubicBezTo>
                      <a:pt x="43" y="51"/>
                      <a:pt x="46" y="38"/>
                      <a:pt x="46" y="21"/>
                    </a:cubicBezTo>
                    <a:cubicBezTo>
                      <a:pt x="46" y="17"/>
                      <a:pt x="46" y="12"/>
                      <a:pt x="46" y="7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4"/>
                      <a:pt x="11" y="17"/>
                      <a:pt x="11" y="21"/>
                    </a:cubicBezTo>
                    <a:cubicBezTo>
                      <a:pt x="11" y="35"/>
                      <a:pt x="9" y="40"/>
                      <a:pt x="8" y="42"/>
                    </a:cubicBezTo>
                    <a:cubicBezTo>
                      <a:pt x="5" y="46"/>
                      <a:pt x="3" y="50"/>
                      <a:pt x="2" y="56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34" y="72"/>
                      <a:pt x="34" y="72"/>
                      <a:pt x="34" y="72"/>
                    </a:cubicBezTo>
                    <a:lnTo>
                      <a:pt x="36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8" name="Freeform 171"/>
              <p:cNvSpPr>
                <a:spLocks/>
              </p:cNvSpPr>
              <p:nvPr/>
            </p:nvSpPr>
            <p:spPr bwMode="black">
              <a:xfrm>
                <a:off x="7011988" y="2484438"/>
                <a:ext cx="34925" cy="57150"/>
              </a:xfrm>
              <a:custGeom>
                <a:avLst/>
                <a:gdLst>
                  <a:gd name="T0" fmla="*/ 5 w 46"/>
                  <a:gd name="T1" fmla="*/ 76 h 76"/>
                  <a:gd name="T2" fmla="*/ 39 w 46"/>
                  <a:gd name="T3" fmla="*/ 70 h 76"/>
                  <a:gd name="T4" fmla="*/ 38 w 46"/>
                  <a:gd name="T5" fmla="*/ 63 h 76"/>
                  <a:gd name="T6" fmla="*/ 36 w 46"/>
                  <a:gd name="T7" fmla="*/ 46 h 76"/>
                  <a:gd name="T8" fmla="*/ 43 w 46"/>
                  <a:gd name="T9" fmla="*/ 21 h 76"/>
                  <a:gd name="T10" fmla="*/ 46 w 46"/>
                  <a:gd name="T11" fmla="*/ 14 h 76"/>
                  <a:gd name="T12" fmla="*/ 13 w 46"/>
                  <a:gd name="T13" fmla="*/ 0 h 76"/>
                  <a:gd name="T14" fmla="*/ 11 w 46"/>
                  <a:gd name="T15" fmla="*/ 7 h 76"/>
                  <a:gd name="T16" fmla="*/ 0 w 46"/>
                  <a:gd name="T17" fmla="*/ 46 h 76"/>
                  <a:gd name="T18" fmla="*/ 3 w 46"/>
                  <a:gd name="T19" fmla="*/ 69 h 76"/>
                  <a:gd name="T20" fmla="*/ 5 w 46"/>
                  <a:gd name="T21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76">
                    <a:moveTo>
                      <a:pt x="5" y="76"/>
                    </a:moveTo>
                    <a:cubicBezTo>
                      <a:pt x="39" y="70"/>
                      <a:pt x="39" y="70"/>
                      <a:pt x="39" y="70"/>
                    </a:cubicBezTo>
                    <a:cubicBezTo>
                      <a:pt x="38" y="63"/>
                      <a:pt x="38" y="63"/>
                      <a:pt x="38" y="63"/>
                    </a:cubicBezTo>
                    <a:cubicBezTo>
                      <a:pt x="37" y="58"/>
                      <a:pt x="36" y="49"/>
                      <a:pt x="36" y="46"/>
                    </a:cubicBezTo>
                    <a:cubicBezTo>
                      <a:pt x="36" y="43"/>
                      <a:pt x="37" y="35"/>
                      <a:pt x="43" y="2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6" y="18"/>
                      <a:pt x="0" y="34"/>
                      <a:pt x="0" y="46"/>
                    </a:cubicBezTo>
                    <a:cubicBezTo>
                      <a:pt x="0" y="51"/>
                      <a:pt x="1" y="58"/>
                      <a:pt x="3" y="69"/>
                    </a:cubicBezTo>
                    <a:lnTo>
                      <a:pt x="5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9" name="Freeform 172"/>
              <p:cNvSpPr>
                <a:spLocks/>
              </p:cNvSpPr>
              <p:nvPr/>
            </p:nvSpPr>
            <p:spPr bwMode="black">
              <a:xfrm>
                <a:off x="8045450" y="2289175"/>
                <a:ext cx="58738" cy="47625"/>
              </a:xfrm>
              <a:custGeom>
                <a:avLst/>
                <a:gdLst>
                  <a:gd name="T0" fmla="*/ 53 w 77"/>
                  <a:gd name="T1" fmla="*/ 61 h 64"/>
                  <a:gd name="T2" fmla="*/ 60 w 77"/>
                  <a:gd name="T3" fmla="*/ 64 h 64"/>
                  <a:gd name="T4" fmla="*/ 77 w 77"/>
                  <a:gd name="T5" fmla="*/ 34 h 64"/>
                  <a:gd name="T6" fmla="*/ 70 w 77"/>
                  <a:gd name="T7" fmla="*/ 30 h 64"/>
                  <a:gd name="T8" fmla="*/ 23 w 77"/>
                  <a:gd name="T9" fmla="*/ 4 h 64"/>
                  <a:gd name="T10" fmla="*/ 17 w 77"/>
                  <a:gd name="T11" fmla="*/ 0 h 64"/>
                  <a:gd name="T12" fmla="*/ 0 w 77"/>
                  <a:gd name="T13" fmla="*/ 31 h 64"/>
                  <a:gd name="T14" fmla="*/ 6 w 77"/>
                  <a:gd name="T15" fmla="*/ 35 h 64"/>
                  <a:gd name="T16" fmla="*/ 53 w 77"/>
                  <a:gd name="T17" fmla="*/ 6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3" y="61"/>
                    </a:moveTo>
                    <a:cubicBezTo>
                      <a:pt x="60" y="64"/>
                      <a:pt x="60" y="64"/>
                      <a:pt x="60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4" y="21"/>
                      <a:pt x="39" y="12"/>
                      <a:pt x="23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24" y="45"/>
                      <a:pt x="39" y="53"/>
                      <a:pt x="53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0" name="Freeform 173"/>
              <p:cNvSpPr>
                <a:spLocks/>
              </p:cNvSpPr>
              <p:nvPr/>
            </p:nvSpPr>
            <p:spPr bwMode="black">
              <a:xfrm>
                <a:off x="8251825" y="2411413"/>
                <a:ext cx="58738" cy="50800"/>
              </a:xfrm>
              <a:custGeom>
                <a:avLst/>
                <a:gdLst>
                  <a:gd name="T0" fmla="*/ 51 w 77"/>
                  <a:gd name="T1" fmla="*/ 63 h 67"/>
                  <a:gd name="T2" fmla="*/ 57 w 77"/>
                  <a:gd name="T3" fmla="*/ 67 h 67"/>
                  <a:gd name="T4" fmla="*/ 77 w 77"/>
                  <a:gd name="T5" fmla="*/ 38 h 67"/>
                  <a:gd name="T6" fmla="*/ 71 w 77"/>
                  <a:gd name="T7" fmla="*/ 34 h 67"/>
                  <a:gd name="T8" fmla="*/ 26 w 77"/>
                  <a:gd name="T9" fmla="*/ 4 h 67"/>
                  <a:gd name="T10" fmla="*/ 19 w 77"/>
                  <a:gd name="T11" fmla="*/ 0 h 67"/>
                  <a:gd name="T12" fmla="*/ 0 w 77"/>
                  <a:gd name="T13" fmla="*/ 29 h 67"/>
                  <a:gd name="T14" fmla="*/ 7 w 77"/>
                  <a:gd name="T15" fmla="*/ 33 h 67"/>
                  <a:gd name="T16" fmla="*/ 51 w 77"/>
                  <a:gd name="T17" fmla="*/ 6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7">
                    <a:moveTo>
                      <a:pt x="51" y="63"/>
                    </a:moveTo>
                    <a:cubicBezTo>
                      <a:pt x="57" y="67"/>
                      <a:pt x="57" y="67"/>
                      <a:pt x="57" y="67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71" y="34"/>
                      <a:pt x="71" y="34"/>
                      <a:pt x="71" y="34"/>
                    </a:cubicBezTo>
                    <a:cubicBezTo>
                      <a:pt x="58" y="25"/>
                      <a:pt x="42" y="15"/>
                      <a:pt x="26" y="4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23" y="44"/>
                      <a:pt x="38" y="54"/>
                      <a:pt x="51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1" name="Freeform 174"/>
              <p:cNvSpPr>
                <a:spLocks/>
              </p:cNvSpPr>
              <p:nvPr/>
            </p:nvSpPr>
            <p:spPr bwMode="black">
              <a:xfrm>
                <a:off x="8185150" y="2368550"/>
                <a:ext cx="57150" cy="49213"/>
              </a:xfrm>
              <a:custGeom>
                <a:avLst/>
                <a:gdLst>
                  <a:gd name="T0" fmla="*/ 52 w 77"/>
                  <a:gd name="T1" fmla="*/ 62 h 66"/>
                  <a:gd name="T2" fmla="*/ 58 w 77"/>
                  <a:gd name="T3" fmla="*/ 66 h 66"/>
                  <a:gd name="T4" fmla="*/ 77 w 77"/>
                  <a:gd name="T5" fmla="*/ 36 h 66"/>
                  <a:gd name="T6" fmla="*/ 70 w 77"/>
                  <a:gd name="T7" fmla="*/ 32 h 66"/>
                  <a:gd name="T8" fmla="*/ 24 w 77"/>
                  <a:gd name="T9" fmla="*/ 4 h 66"/>
                  <a:gd name="T10" fmla="*/ 18 w 77"/>
                  <a:gd name="T11" fmla="*/ 0 h 66"/>
                  <a:gd name="T12" fmla="*/ 0 w 77"/>
                  <a:gd name="T13" fmla="*/ 31 h 66"/>
                  <a:gd name="T14" fmla="*/ 6 w 77"/>
                  <a:gd name="T15" fmla="*/ 35 h 66"/>
                  <a:gd name="T16" fmla="*/ 52 w 77"/>
                  <a:gd name="T17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62"/>
                    </a:moveTo>
                    <a:cubicBezTo>
                      <a:pt x="58" y="66"/>
                      <a:pt x="58" y="66"/>
                      <a:pt x="58" y="6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0" y="32"/>
                      <a:pt x="70" y="32"/>
                      <a:pt x="70" y="32"/>
                    </a:cubicBezTo>
                    <a:cubicBezTo>
                      <a:pt x="56" y="23"/>
                      <a:pt x="41" y="14"/>
                      <a:pt x="24" y="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23" y="44"/>
                      <a:pt x="38" y="53"/>
                      <a:pt x="5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2" name="Freeform 175"/>
              <p:cNvSpPr>
                <a:spLocks/>
              </p:cNvSpPr>
              <p:nvPr/>
            </p:nvSpPr>
            <p:spPr bwMode="black">
              <a:xfrm>
                <a:off x="8356600" y="2528888"/>
                <a:ext cx="33338" cy="55563"/>
              </a:xfrm>
              <a:custGeom>
                <a:avLst/>
                <a:gdLst>
                  <a:gd name="T0" fmla="*/ 2 w 44"/>
                  <a:gd name="T1" fmla="*/ 15 h 73"/>
                  <a:gd name="T2" fmla="*/ 9 w 44"/>
                  <a:gd name="T3" fmla="*/ 65 h 73"/>
                  <a:gd name="T4" fmla="*/ 9 w 44"/>
                  <a:gd name="T5" fmla="*/ 73 h 73"/>
                  <a:gd name="T6" fmla="*/ 44 w 44"/>
                  <a:gd name="T7" fmla="*/ 70 h 73"/>
                  <a:gd name="T8" fmla="*/ 44 w 44"/>
                  <a:gd name="T9" fmla="*/ 62 h 73"/>
                  <a:gd name="T10" fmla="*/ 36 w 44"/>
                  <a:gd name="T11" fmla="*/ 7 h 73"/>
                  <a:gd name="T12" fmla="*/ 35 w 44"/>
                  <a:gd name="T13" fmla="*/ 0 h 73"/>
                  <a:gd name="T14" fmla="*/ 0 w 44"/>
                  <a:gd name="T15" fmla="*/ 7 h 73"/>
                  <a:gd name="T16" fmla="*/ 2 w 44"/>
                  <a:gd name="T17" fmla="*/ 1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73">
                    <a:moveTo>
                      <a:pt x="2" y="15"/>
                    </a:moveTo>
                    <a:cubicBezTo>
                      <a:pt x="5" y="29"/>
                      <a:pt x="7" y="46"/>
                      <a:pt x="9" y="65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42" y="42"/>
                      <a:pt x="39" y="24"/>
                      <a:pt x="36" y="7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7"/>
                      <a:pt x="0" y="7"/>
                      <a:pt x="0" y="7"/>
                    </a:cubicBezTo>
                    <a:lnTo>
                      <a:pt x="2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3" name="Freeform 176"/>
              <p:cNvSpPr>
                <a:spLocks/>
              </p:cNvSpPr>
              <p:nvPr/>
            </p:nvSpPr>
            <p:spPr bwMode="black">
              <a:xfrm>
                <a:off x="8316913" y="2457450"/>
                <a:ext cx="55563" cy="52388"/>
              </a:xfrm>
              <a:custGeom>
                <a:avLst/>
                <a:gdLst>
                  <a:gd name="T0" fmla="*/ 38 w 73"/>
                  <a:gd name="T1" fmla="*/ 65 h 71"/>
                  <a:gd name="T2" fmla="*/ 42 w 73"/>
                  <a:gd name="T3" fmla="*/ 71 h 71"/>
                  <a:gd name="T4" fmla="*/ 73 w 73"/>
                  <a:gd name="T5" fmla="*/ 55 h 71"/>
                  <a:gd name="T6" fmla="*/ 69 w 73"/>
                  <a:gd name="T7" fmla="*/ 48 h 71"/>
                  <a:gd name="T8" fmla="*/ 28 w 73"/>
                  <a:gd name="T9" fmla="*/ 5 h 71"/>
                  <a:gd name="T10" fmla="*/ 22 w 73"/>
                  <a:gd name="T11" fmla="*/ 0 h 71"/>
                  <a:gd name="T12" fmla="*/ 0 w 73"/>
                  <a:gd name="T13" fmla="*/ 28 h 71"/>
                  <a:gd name="T14" fmla="*/ 6 w 73"/>
                  <a:gd name="T15" fmla="*/ 33 h 71"/>
                  <a:gd name="T16" fmla="*/ 38 w 73"/>
                  <a:gd name="T17" fmla="*/ 6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71">
                    <a:moveTo>
                      <a:pt x="38" y="65"/>
                    </a:moveTo>
                    <a:cubicBezTo>
                      <a:pt x="42" y="71"/>
                      <a:pt x="42" y="71"/>
                      <a:pt x="42" y="71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69" y="48"/>
                      <a:pt x="69" y="48"/>
                      <a:pt x="69" y="48"/>
                    </a:cubicBezTo>
                    <a:cubicBezTo>
                      <a:pt x="63" y="36"/>
                      <a:pt x="50" y="23"/>
                      <a:pt x="28" y="5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30" y="52"/>
                      <a:pt x="37" y="62"/>
                      <a:pt x="38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4" name="Freeform 177"/>
              <p:cNvSpPr>
                <a:spLocks/>
              </p:cNvSpPr>
              <p:nvPr/>
            </p:nvSpPr>
            <p:spPr bwMode="black">
              <a:xfrm>
                <a:off x="8115300" y="2328863"/>
                <a:ext cx="58738" cy="47625"/>
              </a:xfrm>
              <a:custGeom>
                <a:avLst/>
                <a:gdLst>
                  <a:gd name="T0" fmla="*/ 52 w 77"/>
                  <a:gd name="T1" fmla="*/ 60 h 64"/>
                  <a:gd name="T2" fmla="*/ 59 w 77"/>
                  <a:gd name="T3" fmla="*/ 64 h 64"/>
                  <a:gd name="T4" fmla="*/ 77 w 77"/>
                  <a:gd name="T5" fmla="*/ 34 h 64"/>
                  <a:gd name="T6" fmla="*/ 70 w 77"/>
                  <a:gd name="T7" fmla="*/ 30 h 64"/>
                  <a:gd name="T8" fmla="*/ 24 w 77"/>
                  <a:gd name="T9" fmla="*/ 3 h 64"/>
                  <a:gd name="T10" fmla="*/ 17 w 77"/>
                  <a:gd name="T11" fmla="*/ 0 h 64"/>
                  <a:gd name="T12" fmla="*/ 0 w 77"/>
                  <a:gd name="T13" fmla="*/ 30 h 64"/>
                  <a:gd name="T14" fmla="*/ 6 w 77"/>
                  <a:gd name="T15" fmla="*/ 34 h 64"/>
                  <a:gd name="T16" fmla="*/ 52 w 77"/>
                  <a:gd name="T17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2" y="60"/>
                    </a:move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5" y="22"/>
                      <a:pt x="40" y="13"/>
                      <a:pt x="24" y="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2" y="43"/>
                      <a:pt x="38" y="52"/>
                      <a:pt x="52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5" name="Freeform 178"/>
              <p:cNvSpPr>
                <a:spLocks/>
              </p:cNvSpPr>
              <p:nvPr/>
            </p:nvSpPr>
            <p:spPr bwMode="black">
              <a:xfrm>
                <a:off x="7821613" y="2162175"/>
                <a:ext cx="58738" cy="49213"/>
              </a:xfrm>
              <a:custGeom>
                <a:avLst/>
                <a:gdLst>
                  <a:gd name="T0" fmla="*/ 52 w 77"/>
                  <a:gd name="T1" fmla="*/ 62 h 66"/>
                  <a:gd name="T2" fmla="*/ 59 w 77"/>
                  <a:gd name="T3" fmla="*/ 66 h 66"/>
                  <a:gd name="T4" fmla="*/ 77 w 77"/>
                  <a:gd name="T5" fmla="*/ 36 h 66"/>
                  <a:gd name="T6" fmla="*/ 71 w 77"/>
                  <a:gd name="T7" fmla="*/ 32 h 66"/>
                  <a:gd name="T8" fmla="*/ 24 w 77"/>
                  <a:gd name="T9" fmla="*/ 4 h 66"/>
                  <a:gd name="T10" fmla="*/ 18 w 77"/>
                  <a:gd name="T11" fmla="*/ 0 h 66"/>
                  <a:gd name="T12" fmla="*/ 0 w 77"/>
                  <a:gd name="T13" fmla="*/ 31 h 66"/>
                  <a:gd name="T14" fmla="*/ 7 w 77"/>
                  <a:gd name="T15" fmla="*/ 35 h 66"/>
                  <a:gd name="T16" fmla="*/ 52 w 77"/>
                  <a:gd name="T17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62"/>
                    </a:moveTo>
                    <a:cubicBezTo>
                      <a:pt x="59" y="66"/>
                      <a:pt x="59" y="66"/>
                      <a:pt x="59" y="6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1" y="32"/>
                      <a:pt x="71" y="32"/>
                      <a:pt x="71" y="32"/>
                    </a:cubicBezTo>
                    <a:cubicBezTo>
                      <a:pt x="54" y="21"/>
                      <a:pt x="39" y="12"/>
                      <a:pt x="24" y="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1" y="42"/>
                      <a:pt x="36" y="51"/>
                      <a:pt x="5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6" name="Freeform 179"/>
              <p:cNvSpPr>
                <a:spLocks/>
              </p:cNvSpPr>
              <p:nvPr/>
            </p:nvSpPr>
            <p:spPr bwMode="black">
              <a:xfrm>
                <a:off x="7754938" y="2133600"/>
                <a:ext cx="53975" cy="39688"/>
              </a:xfrm>
              <a:custGeom>
                <a:avLst/>
                <a:gdLst>
                  <a:gd name="T0" fmla="*/ 10 w 73"/>
                  <a:gd name="T1" fmla="*/ 35 h 52"/>
                  <a:gd name="T2" fmla="*/ 15 w 73"/>
                  <a:gd name="T3" fmla="*/ 35 h 52"/>
                  <a:gd name="T4" fmla="*/ 51 w 73"/>
                  <a:gd name="T5" fmla="*/ 48 h 52"/>
                  <a:gd name="T6" fmla="*/ 58 w 73"/>
                  <a:gd name="T7" fmla="*/ 52 h 52"/>
                  <a:gd name="T8" fmla="*/ 73 w 73"/>
                  <a:gd name="T9" fmla="*/ 20 h 52"/>
                  <a:gd name="T10" fmla="*/ 66 w 73"/>
                  <a:gd name="T11" fmla="*/ 17 h 52"/>
                  <a:gd name="T12" fmla="*/ 19 w 73"/>
                  <a:gd name="T13" fmla="*/ 0 h 52"/>
                  <a:gd name="T14" fmla="*/ 10 w 73"/>
                  <a:gd name="T15" fmla="*/ 0 h 52"/>
                  <a:gd name="T16" fmla="*/ 10 w 73"/>
                  <a:gd name="T17" fmla="*/ 0 h 52"/>
                  <a:gd name="T18" fmla="*/ 0 w 73"/>
                  <a:gd name="T19" fmla="*/ 0 h 52"/>
                  <a:gd name="T20" fmla="*/ 1 w 73"/>
                  <a:gd name="T21" fmla="*/ 35 h 52"/>
                  <a:gd name="T22" fmla="*/ 10 w 73"/>
                  <a:gd name="T23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2">
                    <a:moveTo>
                      <a:pt x="10" y="35"/>
                    </a:moveTo>
                    <a:cubicBezTo>
                      <a:pt x="11" y="35"/>
                      <a:pt x="13" y="35"/>
                      <a:pt x="15" y="35"/>
                    </a:cubicBezTo>
                    <a:cubicBezTo>
                      <a:pt x="19" y="36"/>
                      <a:pt x="30" y="38"/>
                      <a:pt x="51" y="48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46" y="7"/>
                      <a:pt x="31" y="2"/>
                      <a:pt x="19" y="0"/>
                    </a:cubicBezTo>
                    <a:cubicBezTo>
                      <a:pt x="16" y="0"/>
                      <a:pt x="13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35"/>
                      <a:pt x="1" y="35"/>
                      <a:pt x="1" y="35"/>
                    </a:cubicBezTo>
                    <a:lnTo>
                      <a:pt x="1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7" name="Freeform 180"/>
              <p:cNvSpPr>
                <a:spLocks/>
              </p:cNvSpPr>
              <p:nvPr/>
            </p:nvSpPr>
            <p:spPr bwMode="black">
              <a:xfrm>
                <a:off x="7677150" y="2144713"/>
                <a:ext cx="57150" cy="49213"/>
              </a:xfrm>
              <a:custGeom>
                <a:avLst/>
                <a:gdLst>
                  <a:gd name="T0" fmla="*/ 27 w 76"/>
                  <a:gd name="T1" fmla="*/ 61 h 66"/>
                  <a:gd name="T2" fmla="*/ 69 w 76"/>
                  <a:gd name="T3" fmla="*/ 35 h 66"/>
                  <a:gd name="T4" fmla="*/ 76 w 76"/>
                  <a:gd name="T5" fmla="*/ 31 h 66"/>
                  <a:gd name="T6" fmla="*/ 60 w 76"/>
                  <a:gd name="T7" fmla="*/ 0 h 66"/>
                  <a:gd name="T8" fmla="*/ 53 w 76"/>
                  <a:gd name="T9" fmla="*/ 3 h 66"/>
                  <a:gd name="T10" fmla="*/ 6 w 76"/>
                  <a:gd name="T11" fmla="*/ 33 h 66"/>
                  <a:gd name="T12" fmla="*/ 0 w 76"/>
                  <a:gd name="T13" fmla="*/ 38 h 66"/>
                  <a:gd name="T14" fmla="*/ 21 w 76"/>
                  <a:gd name="T15" fmla="*/ 66 h 66"/>
                  <a:gd name="T16" fmla="*/ 27 w 76"/>
                  <a:gd name="T17" fmla="*/ 6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6">
                    <a:moveTo>
                      <a:pt x="27" y="61"/>
                    </a:moveTo>
                    <a:cubicBezTo>
                      <a:pt x="37" y="54"/>
                      <a:pt x="52" y="43"/>
                      <a:pt x="69" y="35"/>
                    </a:cubicBezTo>
                    <a:cubicBezTo>
                      <a:pt x="76" y="31"/>
                      <a:pt x="76" y="31"/>
                      <a:pt x="76" y="3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34" y="13"/>
                      <a:pt x="17" y="25"/>
                      <a:pt x="6" y="33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1" y="66"/>
                      <a:pt x="21" y="66"/>
                      <a:pt x="21" y="66"/>
                    </a:cubicBezTo>
                    <a:lnTo>
                      <a:pt x="27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8" name="Freeform 181"/>
              <p:cNvSpPr>
                <a:spLocks/>
              </p:cNvSpPr>
              <p:nvPr/>
            </p:nvSpPr>
            <p:spPr bwMode="black">
              <a:xfrm>
                <a:off x="7026275" y="2797175"/>
                <a:ext cx="57150" cy="49213"/>
              </a:xfrm>
              <a:custGeom>
                <a:avLst/>
                <a:gdLst>
                  <a:gd name="T0" fmla="*/ 31 w 76"/>
                  <a:gd name="T1" fmla="*/ 5 h 67"/>
                  <a:gd name="T2" fmla="*/ 26 w 76"/>
                  <a:gd name="T3" fmla="*/ 0 h 67"/>
                  <a:gd name="T4" fmla="*/ 0 w 76"/>
                  <a:gd name="T5" fmla="*/ 23 h 67"/>
                  <a:gd name="T6" fmla="*/ 5 w 76"/>
                  <a:gd name="T7" fmla="*/ 29 h 67"/>
                  <a:gd name="T8" fmla="*/ 53 w 76"/>
                  <a:gd name="T9" fmla="*/ 64 h 67"/>
                  <a:gd name="T10" fmla="*/ 59 w 76"/>
                  <a:gd name="T11" fmla="*/ 67 h 67"/>
                  <a:gd name="T12" fmla="*/ 76 w 76"/>
                  <a:gd name="T13" fmla="*/ 36 h 67"/>
                  <a:gd name="T14" fmla="*/ 69 w 76"/>
                  <a:gd name="T15" fmla="*/ 33 h 67"/>
                  <a:gd name="T16" fmla="*/ 31 w 76"/>
                  <a:gd name="T17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7">
                    <a:moveTo>
                      <a:pt x="31" y="5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8" y="43"/>
                      <a:pt x="38" y="56"/>
                      <a:pt x="53" y="64"/>
                    </a:cubicBezTo>
                    <a:cubicBezTo>
                      <a:pt x="59" y="67"/>
                      <a:pt x="59" y="67"/>
                      <a:pt x="59" y="67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52" y="23"/>
                      <a:pt x="38" y="14"/>
                      <a:pt x="3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9" name="Freeform 182"/>
              <p:cNvSpPr>
                <a:spLocks/>
              </p:cNvSpPr>
              <p:nvPr/>
            </p:nvSpPr>
            <p:spPr bwMode="black">
              <a:xfrm>
                <a:off x="7975600" y="2251075"/>
                <a:ext cx="57150" cy="47625"/>
              </a:xfrm>
              <a:custGeom>
                <a:avLst/>
                <a:gdLst>
                  <a:gd name="T0" fmla="*/ 54 w 77"/>
                  <a:gd name="T1" fmla="*/ 60 h 64"/>
                  <a:gd name="T2" fmla="*/ 60 w 77"/>
                  <a:gd name="T3" fmla="*/ 64 h 64"/>
                  <a:gd name="T4" fmla="*/ 77 w 77"/>
                  <a:gd name="T5" fmla="*/ 33 h 64"/>
                  <a:gd name="T6" fmla="*/ 71 w 77"/>
                  <a:gd name="T7" fmla="*/ 29 h 64"/>
                  <a:gd name="T8" fmla="*/ 23 w 77"/>
                  <a:gd name="T9" fmla="*/ 4 h 64"/>
                  <a:gd name="T10" fmla="*/ 17 w 77"/>
                  <a:gd name="T11" fmla="*/ 0 h 64"/>
                  <a:gd name="T12" fmla="*/ 0 w 77"/>
                  <a:gd name="T13" fmla="*/ 31 h 64"/>
                  <a:gd name="T14" fmla="*/ 7 w 77"/>
                  <a:gd name="T15" fmla="*/ 35 h 64"/>
                  <a:gd name="T16" fmla="*/ 54 w 77"/>
                  <a:gd name="T17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4" y="60"/>
                    </a:moveTo>
                    <a:cubicBezTo>
                      <a:pt x="60" y="64"/>
                      <a:pt x="60" y="64"/>
                      <a:pt x="60" y="64"/>
                    </a:cubicBezTo>
                    <a:cubicBezTo>
                      <a:pt x="77" y="33"/>
                      <a:pt x="77" y="33"/>
                      <a:pt x="77" y="33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54" y="20"/>
                      <a:pt x="38" y="12"/>
                      <a:pt x="23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1" y="43"/>
                      <a:pt x="37" y="51"/>
                      <a:pt x="5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0" name="Freeform 183"/>
              <p:cNvSpPr>
                <a:spLocks/>
              </p:cNvSpPr>
              <p:nvPr/>
            </p:nvSpPr>
            <p:spPr bwMode="black">
              <a:xfrm>
                <a:off x="7889875" y="2203450"/>
                <a:ext cx="73025" cy="57150"/>
              </a:xfrm>
              <a:custGeom>
                <a:avLst/>
                <a:gdLst>
                  <a:gd name="T0" fmla="*/ 21 w 97"/>
                  <a:gd name="T1" fmla="*/ 44 h 76"/>
                  <a:gd name="T2" fmla="*/ 26 w 97"/>
                  <a:gd name="T3" fmla="*/ 47 h 76"/>
                  <a:gd name="T4" fmla="*/ 27 w 97"/>
                  <a:gd name="T5" fmla="*/ 48 h 76"/>
                  <a:gd name="T6" fmla="*/ 74 w 97"/>
                  <a:gd name="T7" fmla="*/ 73 h 76"/>
                  <a:gd name="T8" fmla="*/ 80 w 97"/>
                  <a:gd name="T9" fmla="*/ 76 h 76"/>
                  <a:gd name="T10" fmla="*/ 97 w 97"/>
                  <a:gd name="T11" fmla="*/ 45 h 76"/>
                  <a:gd name="T12" fmla="*/ 90 w 97"/>
                  <a:gd name="T13" fmla="*/ 41 h 76"/>
                  <a:gd name="T14" fmla="*/ 44 w 97"/>
                  <a:gd name="T15" fmla="*/ 17 h 76"/>
                  <a:gd name="T16" fmla="*/ 44 w 97"/>
                  <a:gd name="T17" fmla="*/ 17 h 76"/>
                  <a:gd name="T18" fmla="*/ 25 w 97"/>
                  <a:gd name="T19" fmla="*/ 5 h 76"/>
                  <a:gd name="T20" fmla="*/ 19 w 97"/>
                  <a:gd name="T21" fmla="*/ 0 h 76"/>
                  <a:gd name="T22" fmla="*/ 0 w 97"/>
                  <a:gd name="T23" fmla="*/ 30 h 76"/>
                  <a:gd name="T24" fmla="*/ 6 w 97"/>
                  <a:gd name="T25" fmla="*/ 34 h 76"/>
                  <a:gd name="T26" fmla="*/ 21 w 97"/>
                  <a:gd name="T27" fmla="*/ 4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7" h="76">
                    <a:moveTo>
                      <a:pt x="21" y="44"/>
                    </a:moveTo>
                    <a:cubicBezTo>
                      <a:pt x="24" y="46"/>
                      <a:pt x="26" y="47"/>
                      <a:pt x="26" y="47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9" y="49"/>
                      <a:pt x="46" y="58"/>
                      <a:pt x="74" y="73"/>
                    </a:cubicBezTo>
                    <a:cubicBezTo>
                      <a:pt x="80" y="76"/>
                      <a:pt x="80" y="76"/>
                      <a:pt x="80" y="76"/>
                    </a:cubicBezTo>
                    <a:cubicBezTo>
                      <a:pt x="97" y="45"/>
                      <a:pt x="97" y="45"/>
                      <a:pt x="97" y="45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60" y="26"/>
                      <a:pt x="49" y="20"/>
                      <a:pt x="44" y="17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4" y="17"/>
                      <a:pt x="37" y="12"/>
                      <a:pt x="25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12" y="38"/>
                      <a:pt x="18" y="42"/>
                      <a:pt x="21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1" name="Freeform 184"/>
              <p:cNvSpPr>
                <a:spLocks/>
              </p:cNvSpPr>
              <p:nvPr/>
            </p:nvSpPr>
            <p:spPr bwMode="black">
              <a:xfrm>
                <a:off x="7259638" y="2378075"/>
                <a:ext cx="57150" cy="47625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6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2" name="Freeform 185"/>
              <p:cNvSpPr>
                <a:spLocks/>
              </p:cNvSpPr>
              <p:nvPr/>
            </p:nvSpPr>
            <p:spPr bwMode="black">
              <a:xfrm>
                <a:off x="8091488" y="2879725"/>
                <a:ext cx="57150" cy="47625"/>
              </a:xfrm>
              <a:custGeom>
                <a:avLst/>
                <a:gdLst>
                  <a:gd name="T0" fmla="*/ 0 w 36"/>
                  <a:gd name="T1" fmla="*/ 16 h 30"/>
                  <a:gd name="T2" fmla="*/ 8 w 36"/>
                  <a:gd name="T3" fmla="*/ 30 h 30"/>
                  <a:gd name="T4" fmla="*/ 36 w 36"/>
                  <a:gd name="T5" fmla="*/ 14 h 30"/>
                  <a:gd name="T6" fmla="*/ 28 w 36"/>
                  <a:gd name="T7" fmla="*/ 0 h 30"/>
                  <a:gd name="T8" fmla="*/ 0 w 36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0" y="16"/>
                    </a:moveTo>
                    <a:lnTo>
                      <a:pt x="8" y="30"/>
                    </a:lnTo>
                    <a:lnTo>
                      <a:pt x="36" y="14"/>
                    </a:lnTo>
                    <a:lnTo>
                      <a:pt x="28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3" name="Freeform 186"/>
              <p:cNvSpPr>
                <a:spLocks/>
              </p:cNvSpPr>
              <p:nvPr/>
            </p:nvSpPr>
            <p:spPr bwMode="black">
              <a:xfrm>
                <a:off x="7953375" y="2960688"/>
                <a:ext cx="57150" cy="49213"/>
              </a:xfrm>
              <a:custGeom>
                <a:avLst/>
                <a:gdLst>
                  <a:gd name="T0" fmla="*/ 52 w 77"/>
                  <a:gd name="T1" fmla="*/ 4 h 66"/>
                  <a:gd name="T2" fmla="*/ 6 w 77"/>
                  <a:gd name="T3" fmla="*/ 32 h 66"/>
                  <a:gd name="T4" fmla="*/ 0 w 77"/>
                  <a:gd name="T5" fmla="*/ 36 h 66"/>
                  <a:gd name="T6" fmla="*/ 18 w 77"/>
                  <a:gd name="T7" fmla="*/ 66 h 66"/>
                  <a:gd name="T8" fmla="*/ 24 w 77"/>
                  <a:gd name="T9" fmla="*/ 62 h 66"/>
                  <a:gd name="T10" fmla="*/ 70 w 77"/>
                  <a:gd name="T11" fmla="*/ 34 h 66"/>
                  <a:gd name="T12" fmla="*/ 77 w 77"/>
                  <a:gd name="T13" fmla="*/ 31 h 66"/>
                  <a:gd name="T14" fmla="*/ 59 w 77"/>
                  <a:gd name="T15" fmla="*/ 0 h 66"/>
                  <a:gd name="T16" fmla="*/ 52 w 77"/>
                  <a:gd name="T17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4"/>
                    </a:moveTo>
                    <a:cubicBezTo>
                      <a:pt x="35" y="14"/>
                      <a:pt x="20" y="23"/>
                      <a:pt x="6" y="32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24" y="62"/>
                      <a:pt x="24" y="62"/>
                      <a:pt x="24" y="62"/>
                    </a:cubicBezTo>
                    <a:cubicBezTo>
                      <a:pt x="39" y="53"/>
                      <a:pt x="54" y="44"/>
                      <a:pt x="70" y="34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5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4" name="Freeform 187"/>
              <p:cNvSpPr>
                <a:spLocks/>
              </p:cNvSpPr>
              <p:nvPr/>
            </p:nvSpPr>
            <p:spPr bwMode="black">
              <a:xfrm>
                <a:off x="8021638" y="2919413"/>
                <a:ext cx="58738" cy="49213"/>
              </a:xfrm>
              <a:custGeom>
                <a:avLst/>
                <a:gdLst>
                  <a:gd name="T0" fmla="*/ 52 w 77"/>
                  <a:gd name="T1" fmla="*/ 4 h 65"/>
                  <a:gd name="T2" fmla="*/ 6 w 77"/>
                  <a:gd name="T3" fmla="*/ 31 h 65"/>
                  <a:gd name="T4" fmla="*/ 0 w 77"/>
                  <a:gd name="T5" fmla="*/ 35 h 65"/>
                  <a:gd name="T6" fmla="*/ 17 w 77"/>
                  <a:gd name="T7" fmla="*/ 65 h 65"/>
                  <a:gd name="T8" fmla="*/ 24 w 77"/>
                  <a:gd name="T9" fmla="*/ 61 h 65"/>
                  <a:gd name="T10" fmla="*/ 70 w 77"/>
                  <a:gd name="T11" fmla="*/ 34 h 65"/>
                  <a:gd name="T12" fmla="*/ 77 w 77"/>
                  <a:gd name="T13" fmla="*/ 31 h 65"/>
                  <a:gd name="T14" fmla="*/ 59 w 77"/>
                  <a:gd name="T15" fmla="*/ 0 h 65"/>
                  <a:gd name="T16" fmla="*/ 52 w 77"/>
                  <a:gd name="T1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5">
                    <a:moveTo>
                      <a:pt x="52" y="4"/>
                    </a:moveTo>
                    <a:cubicBezTo>
                      <a:pt x="37" y="13"/>
                      <a:pt x="21" y="22"/>
                      <a:pt x="6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39" y="52"/>
                      <a:pt x="55" y="44"/>
                      <a:pt x="70" y="34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5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5" name="Freeform 188"/>
              <p:cNvSpPr>
                <a:spLocks/>
              </p:cNvSpPr>
              <p:nvPr/>
            </p:nvSpPr>
            <p:spPr bwMode="black">
              <a:xfrm>
                <a:off x="7821613" y="3046413"/>
                <a:ext cx="53975" cy="53975"/>
              </a:xfrm>
              <a:custGeom>
                <a:avLst/>
                <a:gdLst>
                  <a:gd name="T0" fmla="*/ 45 w 72"/>
                  <a:gd name="T1" fmla="*/ 5 h 72"/>
                  <a:gd name="T2" fmla="*/ 10 w 72"/>
                  <a:gd name="T3" fmla="*/ 38 h 72"/>
                  <a:gd name="T4" fmla="*/ 4 w 72"/>
                  <a:gd name="T5" fmla="*/ 48 h 72"/>
                  <a:gd name="T6" fmla="*/ 0 w 72"/>
                  <a:gd name="T7" fmla="*/ 54 h 72"/>
                  <a:gd name="T8" fmla="*/ 30 w 72"/>
                  <a:gd name="T9" fmla="*/ 72 h 72"/>
                  <a:gd name="T10" fmla="*/ 34 w 72"/>
                  <a:gd name="T11" fmla="*/ 66 h 72"/>
                  <a:gd name="T12" fmla="*/ 39 w 72"/>
                  <a:gd name="T13" fmla="*/ 57 h 72"/>
                  <a:gd name="T14" fmla="*/ 66 w 72"/>
                  <a:gd name="T15" fmla="*/ 33 h 72"/>
                  <a:gd name="T16" fmla="*/ 72 w 72"/>
                  <a:gd name="T17" fmla="*/ 28 h 72"/>
                  <a:gd name="T18" fmla="*/ 51 w 72"/>
                  <a:gd name="T19" fmla="*/ 0 h 72"/>
                  <a:gd name="T20" fmla="*/ 45 w 72"/>
                  <a:gd name="T21" fmla="*/ 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2">
                    <a:moveTo>
                      <a:pt x="45" y="5"/>
                    </a:moveTo>
                    <a:cubicBezTo>
                      <a:pt x="26" y="19"/>
                      <a:pt x="15" y="29"/>
                      <a:pt x="10" y="38"/>
                    </a:cubicBezTo>
                    <a:cubicBezTo>
                      <a:pt x="8" y="41"/>
                      <a:pt x="6" y="44"/>
                      <a:pt x="4" y="48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4" y="66"/>
                      <a:pt x="34" y="66"/>
                      <a:pt x="34" y="66"/>
                    </a:cubicBezTo>
                    <a:cubicBezTo>
                      <a:pt x="36" y="63"/>
                      <a:pt x="37" y="60"/>
                      <a:pt x="39" y="57"/>
                    </a:cubicBezTo>
                    <a:cubicBezTo>
                      <a:pt x="40" y="55"/>
                      <a:pt x="45" y="49"/>
                      <a:pt x="66" y="33"/>
                    </a:cubicBezTo>
                    <a:cubicBezTo>
                      <a:pt x="72" y="28"/>
                      <a:pt x="72" y="28"/>
                      <a:pt x="72" y="28"/>
                    </a:cubicBezTo>
                    <a:cubicBezTo>
                      <a:pt x="51" y="0"/>
                      <a:pt x="51" y="0"/>
                      <a:pt x="51" y="0"/>
                    </a:cubicBezTo>
                    <a:lnTo>
                      <a:pt x="4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6" name="Freeform 189"/>
              <p:cNvSpPr>
                <a:spLocks/>
              </p:cNvSpPr>
              <p:nvPr/>
            </p:nvSpPr>
            <p:spPr bwMode="black">
              <a:xfrm>
                <a:off x="7885113" y="3001963"/>
                <a:ext cx="57150" cy="49213"/>
              </a:xfrm>
              <a:custGeom>
                <a:avLst/>
                <a:gdLst>
                  <a:gd name="T0" fmla="*/ 51 w 77"/>
                  <a:gd name="T1" fmla="*/ 4 h 66"/>
                  <a:gd name="T2" fmla="*/ 6 w 77"/>
                  <a:gd name="T3" fmla="*/ 33 h 66"/>
                  <a:gd name="T4" fmla="*/ 0 w 77"/>
                  <a:gd name="T5" fmla="*/ 37 h 66"/>
                  <a:gd name="T6" fmla="*/ 19 w 77"/>
                  <a:gd name="T7" fmla="*/ 66 h 66"/>
                  <a:gd name="T8" fmla="*/ 25 w 77"/>
                  <a:gd name="T9" fmla="*/ 62 h 66"/>
                  <a:gd name="T10" fmla="*/ 70 w 77"/>
                  <a:gd name="T11" fmla="*/ 34 h 66"/>
                  <a:gd name="T12" fmla="*/ 77 w 77"/>
                  <a:gd name="T13" fmla="*/ 30 h 66"/>
                  <a:gd name="T14" fmla="*/ 58 w 77"/>
                  <a:gd name="T15" fmla="*/ 0 h 66"/>
                  <a:gd name="T16" fmla="*/ 51 w 77"/>
                  <a:gd name="T17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1" y="4"/>
                    </a:moveTo>
                    <a:cubicBezTo>
                      <a:pt x="35" y="14"/>
                      <a:pt x="19" y="24"/>
                      <a:pt x="6" y="33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39" y="53"/>
                      <a:pt x="54" y="44"/>
                      <a:pt x="70" y="34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5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7" name="Freeform 190"/>
              <p:cNvSpPr>
                <a:spLocks/>
              </p:cNvSpPr>
              <p:nvPr/>
            </p:nvSpPr>
            <p:spPr bwMode="black">
              <a:xfrm>
                <a:off x="8159750" y="2840038"/>
                <a:ext cx="58738" cy="47625"/>
              </a:xfrm>
              <a:custGeom>
                <a:avLst/>
                <a:gdLst>
                  <a:gd name="T0" fmla="*/ 0 w 37"/>
                  <a:gd name="T1" fmla="*/ 16 h 30"/>
                  <a:gd name="T2" fmla="*/ 9 w 37"/>
                  <a:gd name="T3" fmla="*/ 30 h 30"/>
                  <a:gd name="T4" fmla="*/ 37 w 37"/>
                  <a:gd name="T5" fmla="*/ 14 h 30"/>
                  <a:gd name="T6" fmla="*/ 28 w 37"/>
                  <a:gd name="T7" fmla="*/ 0 h 30"/>
                  <a:gd name="T8" fmla="*/ 0 w 37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0" y="16"/>
                    </a:moveTo>
                    <a:lnTo>
                      <a:pt x="9" y="30"/>
                    </a:lnTo>
                    <a:lnTo>
                      <a:pt x="37" y="14"/>
                    </a:lnTo>
                    <a:lnTo>
                      <a:pt x="28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8" name="Freeform 191"/>
              <p:cNvSpPr>
                <a:spLocks/>
              </p:cNvSpPr>
              <p:nvPr/>
            </p:nvSpPr>
            <p:spPr bwMode="black">
              <a:xfrm>
                <a:off x="7038975" y="2435225"/>
                <a:ext cx="58738" cy="39688"/>
              </a:xfrm>
              <a:custGeom>
                <a:avLst/>
                <a:gdLst>
                  <a:gd name="T0" fmla="*/ 27 w 77"/>
                  <a:gd name="T1" fmla="*/ 5 h 53"/>
                  <a:gd name="T2" fmla="*/ 5 w 77"/>
                  <a:gd name="T3" fmla="*/ 24 h 53"/>
                  <a:gd name="T4" fmla="*/ 0 w 77"/>
                  <a:gd name="T5" fmla="*/ 30 h 53"/>
                  <a:gd name="T6" fmla="*/ 26 w 77"/>
                  <a:gd name="T7" fmla="*/ 53 h 53"/>
                  <a:gd name="T8" fmla="*/ 31 w 77"/>
                  <a:gd name="T9" fmla="*/ 47 h 53"/>
                  <a:gd name="T10" fmla="*/ 43 w 77"/>
                  <a:gd name="T11" fmla="*/ 37 h 53"/>
                  <a:gd name="T12" fmla="*/ 61 w 77"/>
                  <a:gd name="T13" fmla="*/ 39 h 53"/>
                  <a:gd name="T14" fmla="*/ 68 w 77"/>
                  <a:gd name="T15" fmla="*/ 41 h 53"/>
                  <a:gd name="T16" fmla="*/ 77 w 77"/>
                  <a:gd name="T17" fmla="*/ 8 h 53"/>
                  <a:gd name="T18" fmla="*/ 70 w 77"/>
                  <a:gd name="T19" fmla="*/ 6 h 53"/>
                  <a:gd name="T20" fmla="*/ 27 w 77"/>
                  <a:gd name="T21" fmla="*/ 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53">
                    <a:moveTo>
                      <a:pt x="27" y="5"/>
                    </a:moveTo>
                    <a:cubicBezTo>
                      <a:pt x="20" y="9"/>
                      <a:pt x="12" y="15"/>
                      <a:pt x="5" y="2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26" y="53"/>
                      <a:pt x="26" y="53"/>
                      <a:pt x="26" y="53"/>
                    </a:cubicBezTo>
                    <a:cubicBezTo>
                      <a:pt x="31" y="47"/>
                      <a:pt x="31" y="47"/>
                      <a:pt x="31" y="47"/>
                    </a:cubicBezTo>
                    <a:cubicBezTo>
                      <a:pt x="35" y="42"/>
                      <a:pt x="40" y="39"/>
                      <a:pt x="43" y="37"/>
                    </a:cubicBezTo>
                    <a:cubicBezTo>
                      <a:pt x="43" y="37"/>
                      <a:pt x="46" y="35"/>
                      <a:pt x="61" y="39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51" y="0"/>
                      <a:pt x="38" y="0"/>
                      <a:pt x="2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9" name="Freeform 192"/>
              <p:cNvSpPr>
                <a:spLocks/>
              </p:cNvSpPr>
              <p:nvPr/>
            </p:nvSpPr>
            <p:spPr bwMode="black">
              <a:xfrm>
                <a:off x="8348663" y="2689225"/>
                <a:ext cx="36513" cy="55563"/>
              </a:xfrm>
              <a:custGeom>
                <a:avLst/>
                <a:gdLst>
                  <a:gd name="T0" fmla="*/ 13 w 49"/>
                  <a:gd name="T1" fmla="*/ 7 h 75"/>
                  <a:gd name="T2" fmla="*/ 2 w 49"/>
                  <a:gd name="T3" fmla="*/ 57 h 75"/>
                  <a:gd name="T4" fmla="*/ 0 w 49"/>
                  <a:gd name="T5" fmla="*/ 64 h 75"/>
                  <a:gd name="T6" fmla="*/ 34 w 49"/>
                  <a:gd name="T7" fmla="*/ 75 h 75"/>
                  <a:gd name="T8" fmla="*/ 36 w 49"/>
                  <a:gd name="T9" fmla="*/ 67 h 75"/>
                  <a:gd name="T10" fmla="*/ 48 w 49"/>
                  <a:gd name="T11" fmla="*/ 13 h 75"/>
                  <a:gd name="T12" fmla="*/ 49 w 49"/>
                  <a:gd name="T13" fmla="*/ 5 h 75"/>
                  <a:gd name="T14" fmla="*/ 15 w 49"/>
                  <a:gd name="T15" fmla="*/ 0 h 75"/>
                  <a:gd name="T16" fmla="*/ 13 w 49"/>
                  <a:gd name="T17" fmla="*/ 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75">
                    <a:moveTo>
                      <a:pt x="13" y="7"/>
                    </a:moveTo>
                    <a:cubicBezTo>
                      <a:pt x="10" y="26"/>
                      <a:pt x="7" y="43"/>
                      <a:pt x="2" y="57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41" y="52"/>
                      <a:pt x="45" y="34"/>
                      <a:pt x="48" y="13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15" y="0"/>
                      <a:pt x="15" y="0"/>
                      <a:pt x="15" y="0"/>
                    </a:cubicBezTo>
                    <a:lnTo>
                      <a:pt x="13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0" name="Freeform 193"/>
              <p:cNvSpPr>
                <a:spLocks/>
              </p:cNvSpPr>
              <p:nvPr/>
            </p:nvSpPr>
            <p:spPr bwMode="black">
              <a:xfrm>
                <a:off x="8362950" y="2611438"/>
                <a:ext cx="26988" cy="52388"/>
              </a:xfrm>
              <a:custGeom>
                <a:avLst/>
                <a:gdLst>
                  <a:gd name="T0" fmla="*/ 2 w 38"/>
                  <a:gd name="T1" fmla="*/ 0 h 70"/>
                  <a:gd name="T2" fmla="*/ 2 w 38"/>
                  <a:gd name="T3" fmla="*/ 8 h 70"/>
                  <a:gd name="T4" fmla="*/ 0 w 38"/>
                  <a:gd name="T5" fmla="*/ 60 h 70"/>
                  <a:gd name="T6" fmla="*/ 0 w 38"/>
                  <a:gd name="T7" fmla="*/ 67 h 70"/>
                  <a:gd name="T8" fmla="*/ 35 w 38"/>
                  <a:gd name="T9" fmla="*/ 70 h 70"/>
                  <a:gd name="T10" fmla="*/ 35 w 38"/>
                  <a:gd name="T11" fmla="*/ 62 h 70"/>
                  <a:gd name="T12" fmla="*/ 38 w 38"/>
                  <a:gd name="T13" fmla="*/ 8 h 70"/>
                  <a:gd name="T14" fmla="*/ 38 w 38"/>
                  <a:gd name="T15" fmla="*/ 0 h 70"/>
                  <a:gd name="T16" fmla="*/ 2 w 38"/>
                  <a:gd name="T17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70">
                    <a:moveTo>
                      <a:pt x="2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2" y="25"/>
                      <a:pt x="2" y="43"/>
                      <a:pt x="0" y="60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7" y="44"/>
                      <a:pt x="38" y="26"/>
                      <a:pt x="38" y="8"/>
                    </a:cubicBezTo>
                    <a:cubicBezTo>
                      <a:pt x="38" y="0"/>
                      <a:pt x="38" y="0"/>
                      <a:pt x="38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1" name="Freeform 194"/>
              <p:cNvSpPr>
                <a:spLocks/>
              </p:cNvSpPr>
              <p:nvPr/>
            </p:nvSpPr>
            <p:spPr bwMode="black">
              <a:xfrm>
                <a:off x="7783513" y="3113088"/>
                <a:ext cx="47625" cy="57150"/>
              </a:xfrm>
              <a:custGeom>
                <a:avLst/>
                <a:gdLst>
                  <a:gd name="T0" fmla="*/ 32 w 63"/>
                  <a:gd name="T1" fmla="*/ 0 h 76"/>
                  <a:gd name="T2" fmla="*/ 29 w 63"/>
                  <a:gd name="T3" fmla="*/ 7 h 76"/>
                  <a:gd name="T4" fmla="*/ 5 w 63"/>
                  <a:gd name="T5" fmla="*/ 50 h 76"/>
                  <a:gd name="T6" fmla="*/ 0 w 63"/>
                  <a:gd name="T7" fmla="*/ 57 h 76"/>
                  <a:gd name="T8" fmla="*/ 30 w 63"/>
                  <a:gd name="T9" fmla="*/ 76 h 76"/>
                  <a:gd name="T10" fmla="*/ 34 w 63"/>
                  <a:gd name="T11" fmla="*/ 70 h 76"/>
                  <a:gd name="T12" fmla="*/ 60 w 63"/>
                  <a:gd name="T13" fmla="*/ 22 h 76"/>
                  <a:gd name="T14" fmla="*/ 63 w 63"/>
                  <a:gd name="T15" fmla="*/ 16 h 76"/>
                  <a:gd name="T16" fmla="*/ 49 w 63"/>
                  <a:gd name="T17" fmla="*/ 7 h 76"/>
                  <a:gd name="T18" fmla="*/ 32 w 63"/>
                  <a:gd name="T1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3" h="76">
                    <a:moveTo>
                      <a:pt x="32" y="0"/>
                    </a:moveTo>
                    <a:cubicBezTo>
                      <a:pt x="29" y="7"/>
                      <a:pt x="29" y="7"/>
                      <a:pt x="29" y="7"/>
                    </a:cubicBezTo>
                    <a:cubicBezTo>
                      <a:pt x="20" y="23"/>
                      <a:pt x="13" y="38"/>
                      <a:pt x="5" y="50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43" y="56"/>
                      <a:pt x="51" y="40"/>
                      <a:pt x="60" y="22"/>
                    </a:cubicBezTo>
                    <a:cubicBezTo>
                      <a:pt x="63" y="16"/>
                      <a:pt x="63" y="16"/>
                      <a:pt x="63" y="16"/>
                    </a:cubicBezTo>
                    <a:cubicBezTo>
                      <a:pt x="49" y="7"/>
                      <a:pt x="49" y="7"/>
                      <a:pt x="49" y="7"/>
                    </a:cubicBez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2" name="Freeform 195"/>
              <p:cNvSpPr>
                <a:spLocks/>
              </p:cNvSpPr>
              <p:nvPr/>
            </p:nvSpPr>
            <p:spPr bwMode="black">
              <a:xfrm>
                <a:off x="8229600" y="2798763"/>
                <a:ext cx="57150" cy="49213"/>
              </a:xfrm>
              <a:custGeom>
                <a:avLst/>
                <a:gdLst>
                  <a:gd name="T0" fmla="*/ 52 w 76"/>
                  <a:gd name="T1" fmla="*/ 3 h 65"/>
                  <a:gd name="T2" fmla="*/ 6 w 76"/>
                  <a:gd name="T3" fmla="*/ 31 h 65"/>
                  <a:gd name="T4" fmla="*/ 0 w 76"/>
                  <a:gd name="T5" fmla="*/ 35 h 65"/>
                  <a:gd name="T6" fmla="*/ 17 w 76"/>
                  <a:gd name="T7" fmla="*/ 65 h 65"/>
                  <a:gd name="T8" fmla="*/ 24 w 76"/>
                  <a:gd name="T9" fmla="*/ 61 h 65"/>
                  <a:gd name="T10" fmla="*/ 70 w 76"/>
                  <a:gd name="T11" fmla="*/ 33 h 65"/>
                  <a:gd name="T12" fmla="*/ 76 w 76"/>
                  <a:gd name="T13" fmla="*/ 30 h 65"/>
                  <a:gd name="T14" fmla="*/ 58 w 76"/>
                  <a:gd name="T15" fmla="*/ 0 h 65"/>
                  <a:gd name="T16" fmla="*/ 52 w 76"/>
                  <a:gd name="T17" fmla="*/ 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5">
                    <a:moveTo>
                      <a:pt x="52" y="3"/>
                    </a:moveTo>
                    <a:cubicBezTo>
                      <a:pt x="38" y="12"/>
                      <a:pt x="22" y="21"/>
                      <a:pt x="6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41" y="51"/>
                      <a:pt x="56" y="42"/>
                      <a:pt x="70" y="33"/>
                    </a:cubicBezTo>
                    <a:cubicBezTo>
                      <a:pt x="76" y="30"/>
                      <a:pt x="76" y="30"/>
                      <a:pt x="76" y="3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5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3" name="Freeform 196"/>
              <p:cNvSpPr>
                <a:spLocks/>
              </p:cNvSpPr>
              <p:nvPr/>
            </p:nvSpPr>
            <p:spPr bwMode="black">
              <a:xfrm>
                <a:off x="8297863" y="2754313"/>
                <a:ext cx="57150" cy="50800"/>
              </a:xfrm>
              <a:custGeom>
                <a:avLst/>
                <a:gdLst>
                  <a:gd name="T0" fmla="*/ 49 w 77"/>
                  <a:gd name="T1" fmla="*/ 5 h 68"/>
                  <a:gd name="T2" fmla="*/ 7 w 77"/>
                  <a:gd name="T3" fmla="*/ 34 h 68"/>
                  <a:gd name="T4" fmla="*/ 0 w 77"/>
                  <a:gd name="T5" fmla="*/ 39 h 68"/>
                  <a:gd name="T6" fmla="*/ 19 w 77"/>
                  <a:gd name="T7" fmla="*/ 68 h 68"/>
                  <a:gd name="T8" fmla="*/ 26 w 77"/>
                  <a:gd name="T9" fmla="*/ 64 h 68"/>
                  <a:gd name="T10" fmla="*/ 71 w 77"/>
                  <a:gd name="T11" fmla="*/ 33 h 68"/>
                  <a:gd name="T12" fmla="*/ 77 w 77"/>
                  <a:gd name="T13" fmla="*/ 28 h 68"/>
                  <a:gd name="T14" fmla="*/ 55 w 77"/>
                  <a:gd name="T15" fmla="*/ 0 h 68"/>
                  <a:gd name="T16" fmla="*/ 49 w 77"/>
                  <a:gd name="T17" fmla="*/ 5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8">
                    <a:moveTo>
                      <a:pt x="49" y="5"/>
                    </a:moveTo>
                    <a:cubicBezTo>
                      <a:pt x="40" y="12"/>
                      <a:pt x="26" y="22"/>
                      <a:pt x="7" y="3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46" y="51"/>
                      <a:pt x="61" y="41"/>
                      <a:pt x="71" y="33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49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4" name="Freeform 197"/>
              <p:cNvSpPr>
                <a:spLocks/>
              </p:cNvSpPr>
              <p:nvPr/>
            </p:nvSpPr>
            <p:spPr bwMode="black">
              <a:xfrm>
                <a:off x="7313613" y="2935288"/>
                <a:ext cx="57150" cy="49213"/>
              </a:xfrm>
              <a:custGeom>
                <a:avLst/>
                <a:gdLst>
                  <a:gd name="T0" fmla="*/ 24 w 77"/>
                  <a:gd name="T1" fmla="*/ 4 h 65"/>
                  <a:gd name="T2" fmla="*/ 18 w 77"/>
                  <a:gd name="T3" fmla="*/ 0 h 65"/>
                  <a:gd name="T4" fmla="*/ 0 w 77"/>
                  <a:gd name="T5" fmla="*/ 30 h 65"/>
                  <a:gd name="T6" fmla="*/ 7 w 77"/>
                  <a:gd name="T7" fmla="*/ 34 h 65"/>
                  <a:gd name="T8" fmla="*/ 53 w 77"/>
                  <a:gd name="T9" fmla="*/ 61 h 65"/>
                  <a:gd name="T10" fmla="*/ 59 w 77"/>
                  <a:gd name="T11" fmla="*/ 65 h 65"/>
                  <a:gd name="T12" fmla="*/ 77 w 77"/>
                  <a:gd name="T13" fmla="*/ 34 h 65"/>
                  <a:gd name="T14" fmla="*/ 71 w 77"/>
                  <a:gd name="T15" fmla="*/ 31 h 65"/>
                  <a:gd name="T16" fmla="*/ 24 w 77"/>
                  <a:gd name="T1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5">
                    <a:moveTo>
                      <a:pt x="24" y="4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22" y="43"/>
                      <a:pt x="37" y="52"/>
                      <a:pt x="53" y="61"/>
                    </a:cubicBezTo>
                    <a:cubicBezTo>
                      <a:pt x="59" y="65"/>
                      <a:pt x="59" y="65"/>
                      <a:pt x="59" y="65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1" y="31"/>
                      <a:pt x="71" y="31"/>
                      <a:pt x="71" y="31"/>
                    </a:cubicBezTo>
                    <a:cubicBezTo>
                      <a:pt x="55" y="22"/>
                      <a:pt x="40" y="13"/>
                      <a:pt x="2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5" name="Freeform 198"/>
              <p:cNvSpPr>
                <a:spLocks/>
              </p:cNvSpPr>
              <p:nvPr/>
            </p:nvSpPr>
            <p:spPr bwMode="black">
              <a:xfrm>
                <a:off x="7381875" y="2974975"/>
                <a:ext cx="57150" cy="49213"/>
              </a:xfrm>
              <a:custGeom>
                <a:avLst/>
                <a:gdLst>
                  <a:gd name="T0" fmla="*/ 0 w 36"/>
                  <a:gd name="T1" fmla="*/ 15 h 31"/>
                  <a:gd name="T2" fmla="*/ 28 w 36"/>
                  <a:gd name="T3" fmla="*/ 31 h 31"/>
                  <a:gd name="T4" fmla="*/ 36 w 36"/>
                  <a:gd name="T5" fmla="*/ 17 h 31"/>
                  <a:gd name="T6" fmla="*/ 8 w 36"/>
                  <a:gd name="T7" fmla="*/ 0 h 31"/>
                  <a:gd name="T8" fmla="*/ 0 w 3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1">
                    <a:moveTo>
                      <a:pt x="0" y="15"/>
                    </a:moveTo>
                    <a:lnTo>
                      <a:pt x="28" y="31"/>
                    </a:lnTo>
                    <a:lnTo>
                      <a:pt x="36" y="17"/>
                    </a:lnTo>
                    <a:lnTo>
                      <a:pt x="8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6" name="Freeform 199"/>
              <p:cNvSpPr>
                <a:spLocks/>
              </p:cNvSpPr>
              <p:nvPr/>
            </p:nvSpPr>
            <p:spPr bwMode="black">
              <a:xfrm>
                <a:off x="7243763" y="2895600"/>
                <a:ext cx="58738" cy="47625"/>
              </a:xfrm>
              <a:custGeom>
                <a:avLst/>
                <a:gdLst>
                  <a:gd name="T0" fmla="*/ 24 w 77"/>
                  <a:gd name="T1" fmla="*/ 4 h 64"/>
                  <a:gd name="T2" fmla="*/ 17 w 77"/>
                  <a:gd name="T3" fmla="*/ 0 h 64"/>
                  <a:gd name="T4" fmla="*/ 0 w 77"/>
                  <a:gd name="T5" fmla="*/ 31 h 64"/>
                  <a:gd name="T6" fmla="*/ 6 w 77"/>
                  <a:gd name="T7" fmla="*/ 34 h 64"/>
                  <a:gd name="T8" fmla="*/ 53 w 77"/>
                  <a:gd name="T9" fmla="*/ 61 h 64"/>
                  <a:gd name="T10" fmla="*/ 59 w 77"/>
                  <a:gd name="T11" fmla="*/ 64 h 64"/>
                  <a:gd name="T12" fmla="*/ 77 w 77"/>
                  <a:gd name="T13" fmla="*/ 34 h 64"/>
                  <a:gd name="T14" fmla="*/ 70 w 77"/>
                  <a:gd name="T15" fmla="*/ 30 h 64"/>
                  <a:gd name="T16" fmla="*/ 24 w 77"/>
                  <a:gd name="T17" fmla="*/ 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24" y="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1" y="42"/>
                      <a:pt x="36" y="51"/>
                      <a:pt x="53" y="61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3" y="20"/>
                      <a:pt x="38" y="12"/>
                      <a:pt x="2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7" name="Freeform 200"/>
              <p:cNvSpPr>
                <a:spLocks/>
              </p:cNvSpPr>
              <p:nvPr/>
            </p:nvSpPr>
            <p:spPr bwMode="black">
              <a:xfrm>
                <a:off x="7173913" y="2857500"/>
                <a:ext cx="57150" cy="47625"/>
              </a:xfrm>
              <a:custGeom>
                <a:avLst/>
                <a:gdLst>
                  <a:gd name="T0" fmla="*/ 23 w 77"/>
                  <a:gd name="T1" fmla="*/ 3 h 63"/>
                  <a:gd name="T2" fmla="*/ 16 w 77"/>
                  <a:gd name="T3" fmla="*/ 0 h 63"/>
                  <a:gd name="T4" fmla="*/ 0 w 77"/>
                  <a:gd name="T5" fmla="*/ 31 h 63"/>
                  <a:gd name="T6" fmla="*/ 7 w 77"/>
                  <a:gd name="T7" fmla="*/ 35 h 63"/>
                  <a:gd name="T8" fmla="*/ 54 w 77"/>
                  <a:gd name="T9" fmla="*/ 59 h 63"/>
                  <a:gd name="T10" fmla="*/ 60 w 77"/>
                  <a:gd name="T11" fmla="*/ 63 h 63"/>
                  <a:gd name="T12" fmla="*/ 77 w 77"/>
                  <a:gd name="T13" fmla="*/ 32 h 63"/>
                  <a:gd name="T14" fmla="*/ 71 w 77"/>
                  <a:gd name="T15" fmla="*/ 29 h 63"/>
                  <a:gd name="T16" fmla="*/ 23 w 77"/>
                  <a:gd name="T17" fmla="*/ 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3">
                    <a:moveTo>
                      <a:pt x="23" y="3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0" y="41"/>
                      <a:pt x="36" y="50"/>
                      <a:pt x="54" y="59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77" y="32"/>
                      <a:pt x="77" y="32"/>
                      <a:pt x="77" y="32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52" y="18"/>
                      <a:pt x="36" y="10"/>
                      <a:pt x="2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8" name="Freeform 201"/>
              <p:cNvSpPr>
                <a:spLocks/>
              </p:cNvSpPr>
              <p:nvPr/>
            </p:nvSpPr>
            <p:spPr bwMode="black">
              <a:xfrm>
                <a:off x="7099300" y="2835275"/>
                <a:ext cx="57150" cy="34925"/>
              </a:xfrm>
              <a:custGeom>
                <a:avLst/>
                <a:gdLst>
                  <a:gd name="T0" fmla="*/ 60 w 76"/>
                  <a:gd name="T1" fmla="*/ 10 h 47"/>
                  <a:gd name="T2" fmla="*/ 58 w 76"/>
                  <a:gd name="T3" fmla="*/ 10 h 47"/>
                  <a:gd name="T4" fmla="*/ 18 w 76"/>
                  <a:gd name="T5" fmla="*/ 2 h 47"/>
                  <a:gd name="T6" fmla="*/ 11 w 76"/>
                  <a:gd name="T7" fmla="*/ 0 h 47"/>
                  <a:gd name="T8" fmla="*/ 0 w 76"/>
                  <a:gd name="T9" fmla="*/ 33 h 47"/>
                  <a:gd name="T10" fmla="*/ 7 w 76"/>
                  <a:gd name="T11" fmla="*/ 35 h 47"/>
                  <a:gd name="T12" fmla="*/ 55 w 76"/>
                  <a:gd name="T13" fmla="*/ 45 h 47"/>
                  <a:gd name="T14" fmla="*/ 60 w 76"/>
                  <a:gd name="T15" fmla="*/ 45 h 47"/>
                  <a:gd name="T16" fmla="*/ 61 w 76"/>
                  <a:gd name="T17" fmla="*/ 45 h 47"/>
                  <a:gd name="T18" fmla="*/ 68 w 76"/>
                  <a:gd name="T19" fmla="*/ 47 h 47"/>
                  <a:gd name="T20" fmla="*/ 76 w 76"/>
                  <a:gd name="T21" fmla="*/ 13 h 47"/>
                  <a:gd name="T22" fmla="*/ 69 w 76"/>
                  <a:gd name="T23" fmla="*/ 11 h 47"/>
                  <a:gd name="T24" fmla="*/ 60 w 76"/>
                  <a:gd name="T25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47">
                    <a:moveTo>
                      <a:pt x="60" y="10"/>
                    </a:moveTo>
                    <a:cubicBezTo>
                      <a:pt x="58" y="10"/>
                      <a:pt x="58" y="10"/>
                      <a:pt x="58" y="10"/>
                    </a:cubicBezTo>
                    <a:cubicBezTo>
                      <a:pt x="49" y="11"/>
                      <a:pt x="35" y="8"/>
                      <a:pt x="18" y="2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0" y="40"/>
                      <a:pt x="39" y="45"/>
                      <a:pt x="55" y="45"/>
                    </a:cubicBezTo>
                    <a:cubicBezTo>
                      <a:pt x="57" y="45"/>
                      <a:pt x="59" y="45"/>
                      <a:pt x="60" y="45"/>
                    </a:cubicBezTo>
                    <a:cubicBezTo>
                      <a:pt x="60" y="45"/>
                      <a:pt x="61" y="45"/>
                      <a:pt x="61" y="45"/>
                    </a:cubicBezTo>
                    <a:cubicBezTo>
                      <a:pt x="68" y="47"/>
                      <a:pt x="68" y="47"/>
                      <a:pt x="68" y="47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1"/>
                      <a:pt x="69" y="11"/>
                      <a:pt x="69" y="11"/>
                    </a:cubicBezTo>
                    <a:cubicBezTo>
                      <a:pt x="66" y="10"/>
                      <a:pt x="63" y="10"/>
                      <a:pt x="6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9" name="Freeform 202"/>
              <p:cNvSpPr>
                <a:spLocks/>
              </p:cNvSpPr>
              <p:nvPr/>
            </p:nvSpPr>
            <p:spPr bwMode="black">
              <a:xfrm>
                <a:off x="7721600" y="3168650"/>
                <a:ext cx="55563" cy="30163"/>
              </a:xfrm>
              <a:custGeom>
                <a:avLst/>
                <a:gdLst>
                  <a:gd name="T0" fmla="*/ 57 w 74"/>
                  <a:gd name="T1" fmla="*/ 3 h 40"/>
                  <a:gd name="T2" fmla="*/ 53 w 74"/>
                  <a:gd name="T3" fmla="*/ 4 h 40"/>
                  <a:gd name="T4" fmla="*/ 11 w 74"/>
                  <a:gd name="T5" fmla="*/ 4 h 40"/>
                  <a:gd name="T6" fmla="*/ 3 w 74"/>
                  <a:gd name="T7" fmla="*/ 3 h 40"/>
                  <a:gd name="T8" fmla="*/ 0 w 74"/>
                  <a:gd name="T9" fmla="*/ 38 h 40"/>
                  <a:gd name="T10" fmla="*/ 7 w 74"/>
                  <a:gd name="T11" fmla="*/ 39 h 40"/>
                  <a:gd name="T12" fmla="*/ 32 w 74"/>
                  <a:gd name="T13" fmla="*/ 40 h 40"/>
                  <a:gd name="T14" fmla="*/ 60 w 74"/>
                  <a:gd name="T15" fmla="*/ 38 h 40"/>
                  <a:gd name="T16" fmla="*/ 67 w 74"/>
                  <a:gd name="T17" fmla="*/ 36 h 40"/>
                  <a:gd name="T18" fmla="*/ 74 w 74"/>
                  <a:gd name="T19" fmla="*/ 34 h 40"/>
                  <a:gd name="T20" fmla="*/ 64 w 74"/>
                  <a:gd name="T21" fmla="*/ 0 h 40"/>
                  <a:gd name="T22" fmla="*/ 57 w 74"/>
                  <a:gd name="T23" fmla="*/ 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40">
                    <a:moveTo>
                      <a:pt x="57" y="3"/>
                    </a:moveTo>
                    <a:cubicBezTo>
                      <a:pt x="56" y="3"/>
                      <a:pt x="55" y="3"/>
                      <a:pt x="53" y="4"/>
                    </a:cubicBezTo>
                    <a:cubicBezTo>
                      <a:pt x="43" y="5"/>
                      <a:pt x="28" y="6"/>
                      <a:pt x="11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16" y="40"/>
                      <a:pt x="25" y="40"/>
                      <a:pt x="32" y="40"/>
                    </a:cubicBezTo>
                    <a:cubicBezTo>
                      <a:pt x="43" y="40"/>
                      <a:pt x="52" y="40"/>
                      <a:pt x="60" y="38"/>
                    </a:cubicBezTo>
                    <a:cubicBezTo>
                      <a:pt x="62" y="38"/>
                      <a:pt x="65" y="37"/>
                      <a:pt x="67" y="36"/>
                    </a:cubicBezTo>
                    <a:cubicBezTo>
                      <a:pt x="74" y="34"/>
                      <a:pt x="74" y="34"/>
                      <a:pt x="74" y="34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5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0" name="Freeform 203"/>
              <p:cNvSpPr>
                <a:spLocks/>
              </p:cNvSpPr>
              <p:nvPr/>
            </p:nvSpPr>
            <p:spPr bwMode="black">
              <a:xfrm>
                <a:off x="7583488" y="3100388"/>
                <a:ext cx="49213" cy="58738"/>
              </a:xfrm>
              <a:custGeom>
                <a:avLst/>
                <a:gdLst>
                  <a:gd name="T0" fmla="*/ 49 w 64"/>
                  <a:gd name="T1" fmla="*/ 34 h 78"/>
                  <a:gd name="T2" fmla="*/ 49 w 64"/>
                  <a:gd name="T3" fmla="*/ 33 h 78"/>
                  <a:gd name="T4" fmla="*/ 33 w 64"/>
                  <a:gd name="T5" fmla="*/ 6 h 78"/>
                  <a:gd name="T6" fmla="*/ 29 w 64"/>
                  <a:gd name="T7" fmla="*/ 0 h 78"/>
                  <a:gd name="T8" fmla="*/ 0 w 64"/>
                  <a:gd name="T9" fmla="*/ 19 h 78"/>
                  <a:gd name="T10" fmla="*/ 4 w 64"/>
                  <a:gd name="T11" fmla="*/ 26 h 78"/>
                  <a:gd name="T12" fmla="*/ 18 w 64"/>
                  <a:gd name="T13" fmla="*/ 50 h 78"/>
                  <a:gd name="T14" fmla="*/ 31 w 64"/>
                  <a:gd name="T15" fmla="*/ 72 h 78"/>
                  <a:gd name="T16" fmla="*/ 35 w 64"/>
                  <a:gd name="T17" fmla="*/ 78 h 78"/>
                  <a:gd name="T18" fmla="*/ 64 w 64"/>
                  <a:gd name="T19" fmla="*/ 59 h 78"/>
                  <a:gd name="T20" fmla="*/ 60 w 64"/>
                  <a:gd name="T21" fmla="*/ 52 h 78"/>
                  <a:gd name="T22" fmla="*/ 49 w 64"/>
                  <a:gd name="T23" fmla="*/ 3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78">
                    <a:moveTo>
                      <a:pt x="49" y="34"/>
                    </a:moveTo>
                    <a:cubicBezTo>
                      <a:pt x="49" y="33"/>
                      <a:pt x="49" y="33"/>
                      <a:pt x="49" y="33"/>
                    </a:cubicBezTo>
                    <a:cubicBezTo>
                      <a:pt x="44" y="25"/>
                      <a:pt x="39" y="15"/>
                      <a:pt x="33" y="6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9" y="34"/>
                      <a:pt x="14" y="43"/>
                      <a:pt x="18" y="50"/>
                    </a:cubicBezTo>
                    <a:cubicBezTo>
                      <a:pt x="22" y="58"/>
                      <a:pt x="27" y="65"/>
                      <a:pt x="31" y="72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0" y="52"/>
                      <a:pt x="60" y="52"/>
                      <a:pt x="60" y="52"/>
                    </a:cubicBezTo>
                    <a:cubicBezTo>
                      <a:pt x="57" y="47"/>
                      <a:pt x="53" y="41"/>
                      <a:pt x="4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1" name="Freeform 204"/>
              <p:cNvSpPr>
                <a:spLocks/>
              </p:cNvSpPr>
              <p:nvPr/>
            </p:nvSpPr>
            <p:spPr bwMode="black">
              <a:xfrm>
                <a:off x="7521575" y="3054350"/>
                <a:ext cx="55563" cy="47625"/>
              </a:xfrm>
              <a:custGeom>
                <a:avLst/>
                <a:gdLst>
                  <a:gd name="T0" fmla="*/ 23 w 75"/>
                  <a:gd name="T1" fmla="*/ 4 h 62"/>
                  <a:gd name="T2" fmla="*/ 17 w 75"/>
                  <a:gd name="T3" fmla="*/ 0 h 62"/>
                  <a:gd name="T4" fmla="*/ 0 w 75"/>
                  <a:gd name="T5" fmla="*/ 31 h 62"/>
                  <a:gd name="T6" fmla="*/ 6 w 75"/>
                  <a:gd name="T7" fmla="*/ 35 h 62"/>
                  <a:gd name="T8" fmla="*/ 57 w 75"/>
                  <a:gd name="T9" fmla="*/ 59 h 62"/>
                  <a:gd name="T10" fmla="*/ 66 w 75"/>
                  <a:gd name="T11" fmla="*/ 62 h 62"/>
                  <a:gd name="T12" fmla="*/ 75 w 75"/>
                  <a:gd name="T13" fmla="*/ 28 h 62"/>
                  <a:gd name="T14" fmla="*/ 66 w 75"/>
                  <a:gd name="T15" fmla="*/ 25 h 62"/>
                  <a:gd name="T16" fmla="*/ 23 w 75"/>
                  <a:gd name="T17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" h="62">
                    <a:moveTo>
                      <a:pt x="23" y="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2" y="54"/>
                      <a:pt x="52" y="58"/>
                      <a:pt x="57" y="59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75" y="28"/>
                      <a:pt x="75" y="28"/>
                      <a:pt x="75" y="28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65" y="25"/>
                      <a:pt x="58" y="2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2" name="Freeform 205"/>
              <p:cNvSpPr>
                <a:spLocks/>
              </p:cNvSpPr>
              <p:nvPr/>
            </p:nvSpPr>
            <p:spPr bwMode="black">
              <a:xfrm>
                <a:off x="7640638" y="3154363"/>
                <a:ext cx="57150" cy="38100"/>
              </a:xfrm>
              <a:custGeom>
                <a:avLst/>
                <a:gdLst>
                  <a:gd name="T0" fmla="*/ 19 w 76"/>
                  <a:gd name="T1" fmla="*/ 3 h 52"/>
                  <a:gd name="T2" fmla="*/ 12 w 76"/>
                  <a:gd name="T3" fmla="*/ 0 h 52"/>
                  <a:gd name="T4" fmla="*/ 0 w 76"/>
                  <a:gd name="T5" fmla="*/ 33 h 52"/>
                  <a:gd name="T6" fmla="*/ 7 w 76"/>
                  <a:gd name="T7" fmla="*/ 36 h 52"/>
                  <a:gd name="T8" fmla="*/ 61 w 76"/>
                  <a:gd name="T9" fmla="*/ 51 h 52"/>
                  <a:gd name="T10" fmla="*/ 68 w 76"/>
                  <a:gd name="T11" fmla="*/ 52 h 52"/>
                  <a:gd name="T12" fmla="*/ 76 w 76"/>
                  <a:gd name="T13" fmla="*/ 18 h 52"/>
                  <a:gd name="T14" fmla="*/ 68 w 76"/>
                  <a:gd name="T15" fmla="*/ 16 h 52"/>
                  <a:gd name="T16" fmla="*/ 19 w 76"/>
                  <a:gd name="T17" fmla="*/ 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52">
                    <a:moveTo>
                      <a:pt x="19" y="3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23" y="41"/>
                      <a:pt x="41" y="46"/>
                      <a:pt x="61" y="51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76" y="18"/>
                      <a:pt x="76" y="18"/>
                      <a:pt x="76" y="18"/>
                    </a:cubicBezTo>
                    <a:cubicBezTo>
                      <a:pt x="68" y="16"/>
                      <a:pt x="68" y="16"/>
                      <a:pt x="68" y="16"/>
                    </a:cubicBezTo>
                    <a:cubicBezTo>
                      <a:pt x="50" y="12"/>
                      <a:pt x="33" y="8"/>
                      <a:pt x="19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3" name="Freeform 206"/>
              <p:cNvSpPr>
                <a:spLocks/>
              </p:cNvSpPr>
              <p:nvPr/>
            </p:nvSpPr>
            <p:spPr bwMode="black">
              <a:xfrm>
                <a:off x="7451725" y="3016250"/>
                <a:ext cx="57150" cy="47625"/>
              </a:xfrm>
              <a:custGeom>
                <a:avLst/>
                <a:gdLst>
                  <a:gd name="T0" fmla="*/ 24 w 77"/>
                  <a:gd name="T1" fmla="*/ 3 h 64"/>
                  <a:gd name="T2" fmla="*/ 17 w 77"/>
                  <a:gd name="T3" fmla="*/ 0 h 64"/>
                  <a:gd name="T4" fmla="*/ 0 w 77"/>
                  <a:gd name="T5" fmla="*/ 30 h 64"/>
                  <a:gd name="T6" fmla="*/ 6 w 77"/>
                  <a:gd name="T7" fmla="*/ 34 h 64"/>
                  <a:gd name="T8" fmla="*/ 53 w 77"/>
                  <a:gd name="T9" fmla="*/ 61 h 64"/>
                  <a:gd name="T10" fmla="*/ 59 w 77"/>
                  <a:gd name="T11" fmla="*/ 64 h 64"/>
                  <a:gd name="T12" fmla="*/ 77 w 77"/>
                  <a:gd name="T13" fmla="*/ 34 h 64"/>
                  <a:gd name="T14" fmla="*/ 70 w 77"/>
                  <a:gd name="T15" fmla="*/ 30 h 64"/>
                  <a:gd name="T16" fmla="*/ 24 w 77"/>
                  <a:gd name="T17" fmla="*/ 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24" y="3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3" y="43"/>
                      <a:pt x="38" y="52"/>
                      <a:pt x="53" y="61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6" y="22"/>
                      <a:pt x="41" y="13"/>
                      <a:pt x="2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4" name="Freeform 207"/>
              <p:cNvSpPr>
                <a:spLocks noEditPoints="1"/>
              </p:cNvSpPr>
              <p:nvPr/>
            </p:nvSpPr>
            <p:spPr bwMode="black">
              <a:xfrm>
                <a:off x="7108825" y="2208213"/>
                <a:ext cx="1198563" cy="892175"/>
              </a:xfrm>
              <a:custGeom>
                <a:avLst/>
                <a:gdLst>
                  <a:gd name="T0" fmla="*/ 1583 w 1601"/>
                  <a:gd name="T1" fmla="*/ 409 h 1191"/>
                  <a:gd name="T2" fmla="*/ 891 w 1601"/>
                  <a:gd name="T3" fmla="*/ 6 h 1191"/>
                  <a:gd name="T4" fmla="*/ 841 w 1601"/>
                  <a:gd name="T5" fmla="*/ 6 h 1191"/>
                  <a:gd name="T6" fmla="*/ 861 w 1601"/>
                  <a:gd name="T7" fmla="*/ 834 h 1191"/>
                  <a:gd name="T8" fmla="*/ 596 w 1601"/>
                  <a:gd name="T9" fmla="*/ 987 h 1191"/>
                  <a:gd name="T10" fmla="*/ 148 w 1601"/>
                  <a:gd name="T11" fmla="*/ 797 h 1191"/>
                  <a:gd name="T12" fmla="*/ 200 w 1601"/>
                  <a:gd name="T13" fmla="*/ 762 h 1191"/>
                  <a:gd name="T14" fmla="*/ 886 w 1601"/>
                  <a:gd name="T15" fmla="*/ 1163 h 1191"/>
                  <a:gd name="T16" fmla="*/ 853 w 1601"/>
                  <a:gd name="T17" fmla="*/ 1191 h 1191"/>
                  <a:gd name="T18" fmla="*/ 677 w 1601"/>
                  <a:gd name="T19" fmla="*/ 1097 h 1191"/>
                  <a:gd name="T20" fmla="*/ 730 w 1601"/>
                  <a:gd name="T21" fmla="*/ 1062 h 1191"/>
                  <a:gd name="T22" fmla="*/ 831 w 1601"/>
                  <a:gd name="T23" fmla="*/ 926 h 1191"/>
                  <a:gd name="T24" fmla="*/ 56 w 1601"/>
                  <a:gd name="T25" fmla="*/ 679 h 1191"/>
                  <a:gd name="T26" fmla="*/ 66 w 1601"/>
                  <a:gd name="T27" fmla="*/ 687 h 1191"/>
                  <a:gd name="T28" fmla="*/ 27 w 1601"/>
                  <a:gd name="T29" fmla="*/ 728 h 1191"/>
                  <a:gd name="T30" fmla="*/ 0 w 1601"/>
                  <a:gd name="T31" fmla="*/ 691 h 1191"/>
                  <a:gd name="T32" fmla="*/ 17 w 1601"/>
                  <a:gd name="T33" fmla="*/ 416 h 1191"/>
                  <a:gd name="T34" fmla="*/ 96 w 1601"/>
                  <a:gd name="T35" fmla="*/ 442 h 1191"/>
                  <a:gd name="T36" fmla="*/ 877 w 1601"/>
                  <a:gd name="T37" fmla="*/ 881 h 1191"/>
                  <a:gd name="T38" fmla="*/ 1600 w 1601"/>
                  <a:gd name="T39" fmla="*/ 438 h 1191"/>
                  <a:gd name="T40" fmla="*/ 1601 w 1601"/>
                  <a:gd name="T41" fmla="*/ 669 h 1191"/>
                  <a:gd name="T42" fmla="*/ 919 w 1601"/>
                  <a:gd name="T43" fmla="*/ 1087 h 1191"/>
                  <a:gd name="T44" fmla="*/ 894 w 1601"/>
                  <a:gd name="T45" fmla="*/ 853 h 1191"/>
                  <a:gd name="T46" fmla="*/ 525 w 1601"/>
                  <a:gd name="T47" fmla="*/ 886 h 1191"/>
                  <a:gd name="T48" fmla="*/ 316 w 1601"/>
                  <a:gd name="T49" fmla="*/ 770 h 1191"/>
                  <a:gd name="T50" fmla="*/ 300 w 1601"/>
                  <a:gd name="T51" fmla="*/ 721 h 1191"/>
                  <a:gd name="T52" fmla="*/ 523 w 1601"/>
                  <a:gd name="T53" fmla="*/ 822 h 1191"/>
                  <a:gd name="T54" fmla="*/ 539 w 1601"/>
                  <a:gd name="T55" fmla="*/ 870 h 1191"/>
                  <a:gd name="T56" fmla="*/ 712 w 1601"/>
                  <a:gd name="T57" fmla="*/ 1033 h 1191"/>
                  <a:gd name="T58" fmla="*/ 648 w 1601"/>
                  <a:gd name="T59" fmla="*/ 1091 h 1191"/>
                  <a:gd name="T60" fmla="*/ 617 w 1601"/>
                  <a:gd name="T61" fmla="*/ 1070 h 1191"/>
                  <a:gd name="T62" fmla="*/ 625 w 1601"/>
                  <a:gd name="T63" fmla="*/ 914 h 1191"/>
                  <a:gd name="T64" fmla="*/ 712 w 1601"/>
                  <a:gd name="T65" fmla="*/ 885 h 1191"/>
                  <a:gd name="T66" fmla="*/ 708 w 1601"/>
                  <a:gd name="T67" fmla="*/ 909 h 1191"/>
                  <a:gd name="T68" fmla="*/ 659 w 1601"/>
                  <a:gd name="T69" fmla="*/ 1044 h 1191"/>
                  <a:gd name="T70" fmla="*/ 712 w 1601"/>
                  <a:gd name="T71" fmla="*/ 1033 h 1191"/>
                  <a:gd name="T72" fmla="*/ 177 w 1601"/>
                  <a:gd name="T73" fmla="*/ 756 h 1191"/>
                  <a:gd name="T74" fmla="*/ 92 w 1601"/>
                  <a:gd name="T75" fmla="*/ 786 h 1191"/>
                  <a:gd name="T76" fmla="*/ 86 w 1601"/>
                  <a:gd name="T77" fmla="*/ 632 h 1191"/>
                  <a:gd name="T78" fmla="*/ 154 w 1601"/>
                  <a:gd name="T79" fmla="*/ 580 h 1191"/>
                  <a:gd name="T80" fmla="*/ 181 w 1601"/>
                  <a:gd name="T81" fmla="*/ 585 h 1191"/>
                  <a:gd name="T82" fmla="*/ 129 w 1601"/>
                  <a:gd name="T83" fmla="*/ 637 h 1191"/>
                  <a:gd name="T84" fmla="*/ 154 w 1601"/>
                  <a:gd name="T85" fmla="*/ 729 h 1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01" h="1191">
                    <a:moveTo>
                      <a:pt x="861" y="834"/>
                    </a:moveTo>
                    <a:cubicBezTo>
                      <a:pt x="1583" y="409"/>
                      <a:pt x="1583" y="409"/>
                      <a:pt x="1583" y="409"/>
                    </a:cubicBezTo>
                    <a:cubicBezTo>
                      <a:pt x="1581" y="407"/>
                      <a:pt x="1579" y="406"/>
                      <a:pt x="1576" y="404"/>
                    </a:cubicBezTo>
                    <a:cubicBezTo>
                      <a:pt x="891" y="6"/>
                      <a:pt x="891" y="6"/>
                      <a:pt x="891" y="6"/>
                    </a:cubicBezTo>
                    <a:cubicBezTo>
                      <a:pt x="884" y="2"/>
                      <a:pt x="875" y="0"/>
                      <a:pt x="866" y="0"/>
                    </a:cubicBezTo>
                    <a:cubicBezTo>
                      <a:pt x="857" y="0"/>
                      <a:pt x="848" y="2"/>
                      <a:pt x="841" y="6"/>
                    </a:cubicBezTo>
                    <a:cubicBezTo>
                      <a:pt x="130" y="422"/>
                      <a:pt x="130" y="422"/>
                      <a:pt x="130" y="422"/>
                    </a:cubicBezTo>
                    <a:lnTo>
                      <a:pt x="861" y="834"/>
                    </a:lnTo>
                    <a:close/>
                    <a:moveTo>
                      <a:pt x="200" y="762"/>
                    </a:moveTo>
                    <a:cubicBezTo>
                      <a:pt x="596" y="987"/>
                      <a:pt x="596" y="987"/>
                      <a:pt x="596" y="987"/>
                    </a:cubicBezTo>
                    <a:cubicBezTo>
                      <a:pt x="596" y="1051"/>
                      <a:pt x="596" y="1051"/>
                      <a:pt x="596" y="1051"/>
                    </a:cubicBezTo>
                    <a:cubicBezTo>
                      <a:pt x="148" y="797"/>
                      <a:pt x="148" y="797"/>
                      <a:pt x="148" y="797"/>
                    </a:cubicBezTo>
                    <a:cubicBezTo>
                      <a:pt x="188" y="773"/>
                      <a:pt x="188" y="773"/>
                      <a:pt x="188" y="773"/>
                    </a:cubicBezTo>
                    <a:cubicBezTo>
                      <a:pt x="192" y="771"/>
                      <a:pt x="197" y="767"/>
                      <a:pt x="200" y="762"/>
                    </a:cubicBezTo>
                    <a:close/>
                    <a:moveTo>
                      <a:pt x="886" y="897"/>
                    </a:moveTo>
                    <a:cubicBezTo>
                      <a:pt x="886" y="1163"/>
                      <a:pt x="886" y="1163"/>
                      <a:pt x="886" y="1163"/>
                    </a:cubicBezTo>
                    <a:cubicBezTo>
                      <a:pt x="884" y="1173"/>
                      <a:pt x="878" y="1182"/>
                      <a:pt x="870" y="1187"/>
                    </a:cubicBezTo>
                    <a:cubicBezTo>
                      <a:pt x="865" y="1190"/>
                      <a:pt x="859" y="1191"/>
                      <a:pt x="853" y="1191"/>
                    </a:cubicBezTo>
                    <a:cubicBezTo>
                      <a:pt x="847" y="1191"/>
                      <a:pt x="840" y="1190"/>
                      <a:pt x="834" y="1186"/>
                    </a:cubicBezTo>
                    <a:cubicBezTo>
                      <a:pt x="677" y="1097"/>
                      <a:pt x="677" y="1097"/>
                      <a:pt x="677" y="1097"/>
                    </a:cubicBezTo>
                    <a:cubicBezTo>
                      <a:pt x="718" y="1073"/>
                      <a:pt x="718" y="1073"/>
                      <a:pt x="718" y="1073"/>
                    </a:cubicBezTo>
                    <a:cubicBezTo>
                      <a:pt x="723" y="1071"/>
                      <a:pt x="727" y="1067"/>
                      <a:pt x="730" y="1062"/>
                    </a:cubicBezTo>
                    <a:cubicBezTo>
                      <a:pt x="831" y="1120"/>
                      <a:pt x="831" y="1120"/>
                      <a:pt x="831" y="1120"/>
                    </a:cubicBezTo>
                    <a:cubicBezTo>
                      <a:pt x="831" y="926"/>
                      <a:pt x="831" y="926"/>
                      <a:pt x="831" y="926"/>
                    </a:cubicBezTo>
                    <a:cubicBezTo>
                      <a:pt x="56" y="483"/>
                      <a:pt x="56" y="483"/>
                      <a:pt x="56" y="483"/>
                    </a:cubicBezTo>
                    <a:cubicBezTo>
                      <a:pt x="56" y="679"/>
                      <a:pt x="56" y="679"/>
                      <a:pt x="56" y="679"/>
                    </a:cubicBezTo>
                    <a:cubicBezTo>
                      <a:pt x="57" y="681"/>
                      <a:pt x="57" y="681"/>
                      <a:pt x="57" y="681"/>
                    </a:cubicBezTo>
                    <a:cubicBezTo>
                      <a:pt x="66" y="687"/>
                      <a:pt x="66" y="687"/>
                      <a:pt x="66" y="687"/>
                    </a:cubicBezTo>
                    <a:cubicBezTo>
                      <a:pt x="66" y="750"/>
                      <a:pt x="66" y="750"/>
                      <a:pt x="66" y="750"/>
                    </a:cubicBezTo>
                    <a:cubicBezTo>
                      <a:pt x="27" y="728"/>
                      <a:pt x="27" y="728"/>
                      <a:pt x="27" y="728"/>
                    </a:cubicBezTo>
                    <a:cubicBezTo>
                      <a:pt x="4" y="710"/>
                      <a:pt x="4" y="710"/>
                      <a:pt x="4" y="710"/>
                    </a:cubicBezTo>
                    <a:cubicBezTo>
                      <a:pt x="0" y="691"/>
                      <a:pt x="0" y="691"/>
                      <a:pt x="0" y="691"/>
                    </a:cubicBezTo>
                    <a:cubicBezTo>
                      <a:pt x="0" y="448"/>
                      <a:pt x="0" y="448"/>
                      <a:pt x="0" y="448"/>
                    </a:cubicBezTo>
                    <a:cubicBezTo>
                      <a:pt x="0" y="434"/>
                      <a:pt x="6" y="423"/>
                      <a:pt x="17" y="416"/>
                    </a:cubicBezTo>
                    <a:cubicBezTo>
                      <a:pt x="28" y="410"/>
                      <a:pt x="41" y="410"/>
                      <a:pt x="53" y="417"/>
                    </a:cubicBezTo>
                    <a:cubicBezTo>
                      <a:pt x="96" y="442"/>
                      <a:pt x="96" y="442"/>
                      <a:pt x="96" y="442"/>
                    </a:cubicBezTo>
                    <a:cubicBezTo>
                      <a:pt x="97" y="441"/>
                      <a:pt x="97" y="441"/>
                      <a:pt x="97" y="441"/>
                    </a:cubicBezTo>
                    <a:cubicBezTo>
                      <a:pt x="877" y="881"/>
                      <a:pt x="877" y="881"/>
                      <a:pt x="877" y="881"/>
                    </a:cubicBezTo>
                    <a:cubicBezTo>
                      <a:pt x="881" y="883"/>
                      <a:pt x="886" y="892"/>
                      <a:pt x="886" y="897"/>
                    </a:cubicBezTo>
                    <a:close/>
                    <a:moveTo>
                      <a:pt x="1600" y="438"/>
                    </a:moveTo>
                    <a:cubicBezTo>
                      <a:pt x="1601" y="441"/>
                      <a:pt x="1601" y="444"/>
                      <a:pt x="1601" y="448"/>
                    </a:cubicBezTo>
                    <a:cubicBezTo>
                      <a:pt x="1601" y="669"/>
                      <a:pt x="1601" y="669"/>
                      <a:pt x="1601" y="669"/>
                    </a:cubicBezTo>
                    <a:cubicBezTo>
                      <a:pt x="1601" y="686"/>
                      <a:pt x="1591" y="704"/>
                      <a:pt x="1576" y="712"/>
                    </a:cubicBezTo>
                    <a:cubicBezTo>
                      <a:pt x="919" y="1087"/>
                      <a:pt x="919" y="1087"/>
                      <a:pt x="919" y="1087"/>
                    </a:cubicBezTo>
                    <a:cubicBezTo>
                      <a:pt x="919" y="897"/>
                      <a:pt x="919" y="897"/>
                      <a:pt x="919" y="897"/>
                    </a:cubicBezTo>
                    <a:cubicBezTo>
                      <a:pt x="919" y="880"/>
                      <a:pt x="909" y="862"/>
                      <a:pt x="894" y="853"/>
                    </a:cubicBezTo>
                    <a:lnTo>
                      <a:pt x="1600" y="438"/>
                    </a:lnTo>
                    <a:close/>
                    <a:moveTo>
                      <a:pt x="525" y="886"/>
                    </a:moveTo>
                    <a:cubicBezTo>
                      <a:pt x="522" y="886"/>
                      <a:pt x="519" y="885"/>
                      <a:pt x="516" y="884"/>
                    </a:cubicBezTo>
                    <a:cubicBezTo>
                      <a:pt x="316" y="770"/>
                      <a:pt x="316" y="770"/>
                      <a:pt x="316" y="770"/>
                    </a:cubicBezTo>
                    <a:cubicBezTo>
                      <a:pt x="307" y="765"/>
                      <a:pt x="300" y="753"/>
                      <a:pt x="300" y="742"/>
                    </a:cubicBezTo>
                    <a:cubicBezTo>
                      <a:pt x="300" y="721"/>
                      <a:pt x="300" y="721"/>
                      <a:pt x="300" y="721"/>
                    </a:cubicBezTo>
                    <a:cubicBezTo>
                      <a:pt x="300" y="708"/>
                      <a:pt x="311" y="701"/>
                      <a:pt x="323" y="708"/>
                    </a:cubicBezTo>
                    <a:cubicBezTo>
                      <a:pt x="523" y="822"/>
                      <a:pt x="523" y="822"/>
                      <a:pt x="523" y="822"/>
                    </a:cubicBezTo>
                    <a:cubicBezTo>
                      <a:pt x="532" y="827"/>
                      <a:pt x="539" y="839"/>
                      <a:pt x="539" y="849"/>
                    </a:cubicBezTo>
                    <a:cubicBezTo>
                      <a:pt x="539" y="870"/>
                      <a:pt x="539" y="870"/>
                      <a:pt x="539" y="870"/>
                    </a:cubicBezTo>
                    <a:cubicBezTo>
                      <a:pt x="539" y="880"/>
                      <a:pt x="533" y="886"/>
                      <a:pt x="525" y="886"/>
                    </a:cubicBezTo>
                    <a:close/>
                    <a:moveTo>
                      <a:pt x="712" y="1033"/>
                    </a:moveTo>
                    <a:cubicBezTo>
                      <a:pt x="718" y="1040"/>
                      <a:pt x="716" y="1051"/>
                      <a:pt x="708" y="1056"/>
                    </a:cubicBezTo>
                    <a:cubicBezTo>
                      <a:pt x="648" y="1091"/>
                      <a:pt x="648" y="1091"/>
                      <a:pt x="648" y="1091"/>
                    </a:cubicBezTo>
                    <a:cubicBezTo>
                      <a:pt x="640" y="1096"/>
                      <a:pt x="626" y="1090"/>
                      <a:pt x="622" y="1086"/>
                    </a:cubicBezTo>
                    <a:cubicBezTo>
                      <a:pt x="618" y="1082"/>
                      <a:pt x="617" y="1070"/>
                      <a:pt x="617" y="1070"/>
                    </a:cubicBezTo>
                    <a:cubicBezTo>
                      <a:pt x="617" y="932"/>
                      <a:pt x="617" y="932"/>
                      <a:pt x="617" y="932"/>
                    </a:cubicBezTo>
                    <a:cubicBezTo>
                      <a:pt x="617" y="932"/>
                      <a:pt x="618" y="918"/>
                      <a:pt x="625" y="914"/>
                    </a:cubicBezTo>
                    <a:cubicBezTo>
                      <a:pt x="684" y="880"/>
                      <a:pt x="684" y="880"/>
                      <a:pt x="684" y="880"/>
                    </a:cubicBezTo>
                    <a:cubicBezTo>
                      <a:pt x="693" y="875"/>
                      <a:pt x="706" y="878"/>
                      <a:pt x="712" y="885"/>
                    </a:cubicBezTo>
                    <a:cubicBezTo>
                      <a:pt x="712" y="885"/>
                      <a:pt x="712" y="885"/>
                      <a:pt x="712" y="885"/>
                    </a:cubicBezTo>
                    <a:cubicBezTo>
                      <a:pt x="717" y="893"/>
                      <a:pt x="716" y="904"/>
                      <a:pt x="708" y="909"/>
                    </a:cubicBezTo>
                    <a:cubicBezTo>
                      <a:pt x="659" y="937"/>
                      <a:pt x="659" y="937"/>
                      <a:pt x="659" y="937"/>
                    </a:cubicBezTo>
                    <a:cubicBezTo>
                      <a:pt x="659" y="1044"/>
                      <a:pt x="659" y="1044"/>
                      <a:pt x="659" y="1044"/>
                    </a:cubicBezTo>
                    <a:cubicBezTo>
                      <a:pt x="684" y="1029"/>
                      <a:pt x="684" y="1029"/>
                      <a:pt x="684" y="1029"/>
                    </a:cubicBezTo>
                    <a:cubicBezTo>
                      <a:pt x="693" y="1024"/>
                      <a:pt x="706" y="1025"/>
                      <a:pt x="712" y="1033"/>
                    </a:cubicBezTo>
                    <a:close/>
                    <a:moveTo>
                      <a:pt x="182" y="733"/>
                    </a:moveTo>
                    <a:cubicBezTo>
                      <a:pt x="188" y="740"/>
                      <a:pt x="186" y="751"/>
                      <a:pt x="177" y="756"/>
                    </a:cubicBezTo>
                    <a:cubicBezTo>
                      <a:pt x="118" y="791"/>
                      <a:pt x="118" y="791"/>
                      <a:pt x="118" y="791"/>
                    </a:cubicBezTo>
                    <a:cubicBezTo>
                      <a:pt x="109" y="796"/>
                      <a:pt x="96" y="790"/>
                      <a:pt x="92" y="786"/>
                    </a:cubicBezTo>
                    <a:cubicBezTo>
                      <a:pt x="88" y="782"/>
                      <a:pt x="86" y="770"/>
                      <a:pt x="86" y="770"/>
                    </a:cubicBezTo>
                    <a:cubicBezTo>
                      <a:pt x="86" y="632"/>
                      <a:pt x="86" y="632"/>
                      <a:pt x="86" y="632"/>
                    </a:cubicBezTo>
                    <a:cubicBezTo>
                      <a:pt x="86" y="632"/>
                      <a:pt x="88" y="618"/>
                      <a:pt x="95" y="614"/>
                    </a:cubicBezTo>
                    <a:cubicBezTo>
                      <a:pt x="154" y="580"/>
                      <a:pt x="154" y="580"/>
                      <a:pt x="154" y="580"/>
                    </a:cubicBezTo>
                    <a:cubicBezTo>
                      <a:pt x="163" y="575"/>
                      <a:pt x="176" y="578"/>
                      <a:pt x="181" y="585"/>
                    </a:cubicBezTo>
                    <a:cubicBezTo>
                      <a:pt x="181" y="585"/>
                      <a:pt x="181" y="585"/>
                      <a:pt x="181" y="585"/>
                    </a:cubicBezTo>
                    <a:cubicBezTo>
                      <a:pt x="187" y="593"/>
                      <a:pt x="186" y="604"/>
                      <a:pt x="177" y="609"/>
                    </a:cubicBezTo>
                    <a:cubicBezTo>
                      <a:pt x="129" y="637"/>
                      <a:pt x="129" y="637"/>
                      <a:pt x="129" y="637"/>
                    </a:cubicBezTo>
                    <a:cubicBezTo>
                      <a:pt x="129" y="744"/>
                      <a:pt x="129" y="744"/>
                      <a:pt x="129" y="744"/>
                    </a:cubicBezTo>
                    <a:cubicBezTo>
                      <a:pt x="154" y="729"/>
                      <a:pt x="154" y="729"/>
                      <a:pt x="154" y="729"/>
                    </a:cubicBezTo>
                    <a:cubicBezTo>
                      <a:pt x="163" y="724"/>
                      <a:pt x="176" y="725"/>
                      <a:pt x="182" y="7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7" name="Rectangle 16"/>
            <p:cNvSpPr/>
            <p:nvPr/>
          </p:nvSpPr>
          <p:spPr>
            <a:xfrm>
              <a:off x="8000624" y="5249263"/>
              <a:ext cx="1392350" cy="557094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Load Balancer</a:t>
              </a:r>
            </a:p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Public IP</a:t>
              </a:r>
            </a:p>
          </p:txBody>
        </p:sp>
        <p:cxnSp>
          <p:nvCxnSpPr>
            <p:cNvPr id="18" name="Elbow Connector 17"/>
            <p:cNvCxnSpPr/>
            <p:nvPr/>
          </p:nvCxnSpPr>
          <p:spPr>
            <a:xfrm rot="10800000" flipV="1">
              <a:off x="2530937" y="3606392"/>
              <a:ext cx="7937218" cy="7853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/>
            <p:cNvSpPr/>
            <p:nvPr/>
          </p:nvSpPr>
          <p:spPr>
            <a:xfrm>
              <a:off x="5462470" y="3606395"/>
              <a:ext cx="2148617" cy="775117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AD Replication</a:t>
              </a:r>
            </a:p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+</a:t>
              </a:r>
              <a:b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On Premises Resources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10436255" y="3073313"/>
              <a:ext cx="479392" cy="712232"/>
              <a:chOff x="4610325" y="6858496"/>
              <a:chExt cx="479392" cy="712232"/>
            </a:xfrm>
          </p:grpSpPr>
          <p:pic>
            <p:nvPicPr>
              <p:cNvPr id="83" name="Picture 6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100000"/>
              </a:blip>
              <a:srcRect l="24157" r="25929"/>
              <a:stretch/>
            </p:blipFill>
            <p:spPr bwMode="auto">
              <a:xfrm>
                <a:off x="4610325" y="6858496"/>
                <a:ext cx="355510" cy="712232"/>
              </a:xfrm>
              <a:prstGeom prst="rect">
                <a:avLst/>
              </a:prstGeom>
              <a:noFill/>
            </p:spPr>
          </p:pic>
          <p:sp>
            <p:nvSpPr>
              <p:cNvPr id="84" name="Isosceles Triangle 83"/>
              <p:cNvSpPr/>
              <p:nvPr/>
            </p:nvSpPr>
            <p:spPr bwMode="auto">
              <a:xfrm>
                <a:off x="4883537" y="7331187"/>
                <a:ext cx="206180" cy="17774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5" name="Rectangle 84"/>
              <p:cNvSpPr/>
              <p:nvPr/>
            </p:nvSpPr>
            <p:spPr bwMode="auto">
              <a:xfrm>
                <a:off x="4883537" y="7416936"/>
                <a:ext cx="206180" cy="2634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6" name="Rectangle 85"/>
              <p:cNvSpPr/>
              <p:nvPr/>
            </p:nvSpPr>
            <p:spPr bwMode="auto">
              <a:xfrm rot="16200000">
                <a:off x="4928054" y="7465866"/>
                <a:ext cx="117146" cy="263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7" name="Isosceles Triangle 86"/>
              <p:cNvSpPr/>
              <p:nvPr/>
            </p:nvSpPr>
            <p:spPr bwMode="auto">
              <a:xfrm>
                <a:off x="4942260" y="7396152"/>
                <a:ext cx="88734" cy="7649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1" name="Rectangle 20"/>
            <p:cNvSpPr/>
            <p:nvPr/>
          </p:nvSpPr>
          <p:spPr>
            <a:xfrm>
              <a:off x="10674753" y="3397411"/>
              <a:ext cx="1001219" cy="339071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AD / DNS</a:t>
              </a:r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 flipV="1">
              <a:off x="10186920" y="3730231"/>
              <a:ext cx="372682" cy="511400"/>
            </a:xfrm>
            <a:prstGeom prst="straightConnector1">
              <a:avLst/>
            </a:prstGeom>
            <a:ln w="25400"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/>
            <p:cNvSpPr/>
            <p:nvPr/>
          </p:nvSpPr>
          <p:spPr>
            <a:xfrm>
              <a:off x="10235277" y="3887404"/>
              <a:ext cx="925516" cy="339071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AD </a:t>
              </a:r>
              <a:r>
                <a:rPr lang="en-US" sz="1200" dirty="0" err="1">
                  <a:solidFill>
                    <a:schemeClr val="bg1"/>
                  </a:solidFill>
                  <a:latin typeface="Calibri" panose="020F0502020204030204" pitchFamily="34" charset="0"/>
                </a:rPr>
                <a:t>Auth</a:t>
              </a: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24" name="Straight Arrow Connector 23"/>
            <p:cNvCxnSpPr>
              <a:endCxn id="84" idx="3"/>
            </p:cNvCxnSpPr>
            <p:nvPr/>
          </p:nvCxnSpPr>
          <p:spPr>
            <a:xfrm flipH="1" flipV="1">
              <a:off x="10812557" y="3723765"/>
              <a:ext cx="362804" cy="458777"/>
            </a:xfrm>
            <a:prstGeom prst="straightConnector1">
              <a:avLst/>
            </a:prstGeom>
            <a:ln w="25400"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/>
            <p:cNvSpPr/>
            <p:nvPr/>
          </p:nvSpPr>
          <p:spPr>
            <a:xfrm>
              <a:off x="5449461" y="3085675"/>
              <a:ext cx="2159553" cy="339071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Site to Site VPN Tunnel</a:t>
              </a:r>
            </a:p>
          </p:txBody>
        </p:sp>
        <p:cxnSp>
          <p:nvCxnSpPr>
            <p:cNvPr id="26" name="Straight Arrow Connector 25"/>
            <p:cNvCxnSpPr/>
            <p:nvPr/>
          </p:nvCxnSpPr>
          <p:spPr>
            <a:xfrm flipH="1" flipV="1">
              <a:off x="9906217" y="3606391"/>
              <a:ext cx="280702" cy="607904"/>
            </a:xfrm>
            <a:prstGeom prst="straightConnector1">
              <a:avLst/>
            </a:prstGeom>
            <a:ln w="25400"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6"/>
            <p:cNvSpPr/>
            <p:nvPr/>
          </p:nvSpPr>
          <p:spPr bwMode="auto">
            <a:xfrm>
              <a:off x="382772" y="1563005"/>
              <a:ext cx="11717079" cy="4529471"/>
            </a:xfrm>
            <a:prstGeom prst="rect">
              <a:avLst/>
            </a:prstGeom>
            <a:noFill/>
            <a:ln w="15875">
              <a:solidFill>
                <a:schemeClr val="accent4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376" tIns="45689" rIns="91376" bIns="4568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529" fontAlgn="base">
                <a:spcBef>
                  <a:spcPct val="0"/>
                </a:spcBef>
                <a:spcAft>
                  <a:spcPct val="0"/>
                </a:spcAft>
              </a:pPr>
              <a:endParaRPr lang="en-US" sz="23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5147642" y="1647260"/>
              <a:ext cx="2732453" cy="339071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Contoso.com Active Directory</a:t>
              </a: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382773" y="1562987"/>
              <a:ext cx="4550553" cy="4529489"/>
              <a:chOff x="382773" y="1562987"/>
              <a:chExt cx="4550553" cy="4529489"/>
            </a:xfrm>
          </p:grpSpPr>
          <p:grpSp>
            <p:nvGrpSpPr>
              <p:cNvPr id="30" name="Group 29"/>
              <p:cNvGrpSpPr/>
              <p:nvPr/>
            </p:nvGrpSpPr>
            <p:grpSpPr>
              <a:xfrm>
                <a:off x="591318" y="1865904"/>
                <a:ext cx="3465948" cy="3524679"/>
                <a:chOff x="897789" y="1992744"/>
                <a:chExt cx="3465948" cy="3524676"/>
              </a:xfrm>
            </p:grpSpPr>
            <p:sp>
              <p:nvSpPr>
                <p:cNvPr id="56" name="Rectangle 55"/>
                <p:cNvSpPr/>
                <p:nvPr/>
              </p:nvSpPr>
              <p:spPr bwMode="auto">
                <a:xfrm>
                  <a:off x="897789" y="1992744"/>
                  <a:ext cx="3465948" cy="346594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600" dirty="0" err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Contoso</a:t>
                  </a:r>
                  <a:r>
                    <a:rPr lang="en-US" sz="16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 Corp Network</a:t>
                  </a:r>
                </a:p>
              </p:txBody>
            </p:sp>
            <p:pic>
              <p:nvPicPr>
                <p:cNvPr id="57" name="Picture 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100000" contrast="100000"/>
                </a:blip>
                <a:srcRect/>
                <a:stretch>
                  <a:fillRect/>
                </a:stretch>
              </p:blipFill>
              <p:spPr bwMode="auto">
                <a:xfrm>
                  <a:off x="3298179" y="4442923"/>
                  <a:ext cx="965110" cy="8842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grpSp>
              <p:nvGrpSpPr>
                <p:cNvPr id="58" name="Group 57"/>
                <p:cNvGrpSpPr/>
                <p:nvPr/>
              </p:nvGrpSpPr>
              <p:grpSpPr>
                <a:xfrm>
                  <a:off x="2717713" y="2401459"/>
                  <a:ext cx="869945" cy="629380"/>
                  <a:chOff x="2870782" y="2512291"/>
                  <a:chExt cx="791194" cy="572406"/>
                </a:xfrm>
              </p:grpSpPr>
              <p:pic>
                <p:nvPicPr>
                  <p:cNvPr id="81" name="Picture 2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" cstate="print">
                    <a:lum bright="100000" contrast="100000"/>
                  </a:blip>
                  <a:srcRect l="9422" t="9591" r="8195" b="13220"/>
                  <a:stretch/>
                </p:blipFill>
                <p:spPr bwMode="auto">
                  <a:xfrm>
                    <a:off x="2870782" y="2512291"/>
                    <a:ext cx="666746" cy="572406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</p:pic>
              <p:sp>
                <p:nvSpPr>
                  <p:cNvPr id="82" name="Freeform 6"/>
                  <p:cNvSpPr>
                    <a:spLocks noChangeAspect="1" noEditPoints="1"/>
                  </p:cNvSpPr>
                  <p:nvPr/>
                </p:nvSpPr>
                <p:spPr bwMode="black">
                  <a:xfrm>
                    <a:off x="3363172" y="2782146"/>
                    <a:ext cx="298804" cy="302551"/>
                  </a:xfrm>
                  <a:custGeom>
                    <a:avLst/>
                    <a:gdLst>
                      <a:gd name="T0" fmla="*/ 84 w 84"/>
                      <a:gd name="T1" fmla="*/ 43 h 85"/>
                      <a:gd name="T2" fmla="*/ 0 w 84"/>
                      <a:gd name="T3" fmla="*/ 43 h 85"/>
                      <a:gd name="T4" fmla="*/ 76 w 84"/>
                      <a:gd name="T5" fmla="*/ 27 h 85"/>
                      <a:gd name="T6" fmla="*/ 65 w 84"/>
                      <a:gd name="T7" fmla="*/ 40 h 85"/>
                      <a:gd name="T8" fmla="*/ 76 w 84"/>
                      <a:gd name="T9" fmla="*/ 27 h 85"/>
                      <a:gd name="T10" fmla="*/ 45 w 84"/>
                      <a:gd name="T11" fmla="*/ 27 h 85"/>
                      <a:gd name="T12" fmla="*/ 62 w 84"/>
                      <a:gd name="T13" fmla="*/ 40 h 85"/>
                      <a:gd name="T14" fmla="*/ 40 w 84"/>
                      <a:gd name="T15" fmla="*/ 27 h 85"/>
                      <a:gd name="T16" fmla="*/ 21 w 84"/>
                      <a:gd name="T17" fmla="*/ 40 h 85"/>
                      <a:gd name="T18" fmla="*/ 40 w 84"/>
                      <a:gd name="T19" fmla="*/ 27 h 85"/>
                      <a:gd name="T20" fmla="*/ 8 w 84"/>
                      <a:gd name="T21" fmla="*/ 27 h 85"/>
                      <a:gd name="T22" fmla="*/ 19 w 84"/>
                      <a:gd name="T23" fmla="*/ 40 h 85"/>
                      <a:gd name="T24" fmla="*/ 10 w 84"/>
                      <a:gd name="T25" fmla="*/ 21 h 85"/>
                      <a:gd name="T26" fmla="*/ 30 w 84"/>
                      <a:gd name="T27" fmla="*/ 6 h 85"/>
                      <a:gd name="T28" fmla="*/ 25 w 84"/>
                      <a:gd name="T29" fmla="*/ 21 h 85"/>
                      <a:gd name="T30" fmla="*/ 40 w 84"/>
                      <a:gd name="T31" fmla="*/ 4 h 85"/>
                      <a:gd name="T32" fmla="*/ 45 w 84"/>
                      <a:gd name="T33" fmla="*/ 21 h 85"/>
                      <a:gd name="T34" fmla="*/ 45 w 84"/>
                      <a:gd name="T35" fmla="*/ 5 h 85"/>
                      <a:gd name="T36" fmla="*/ 62 w 84"/>
                      <a:gd name="T37" fmla="*/ 21 h 85"/>
                      <a:gd name="T38" fmla="*/ 54 w 84"/>
                      <a:gd name="T39" fmla="*/ 6 h 85"/>
                      <a:gd name="T40" fmla="*/ 80 w 84"/>
                      <a:gd name="T41" fmla="*/ 45 h 85"/>
                      <a:gd name="T42" fmla="*/ 63 w 84"/>
                      <a:gd name="T43" fmla="*/ 59 h 85"/>
                      <a:gd name="T44" fmla="*/ 80 w 84"/>
                      <a:gd name="T45" fmla="*/ 45 h 85"/>
                      <a:gd name="T46" fmla="*/ 45 w 84"/>
                      <a:gd name="T47" fmla="*/ 45 h 85"/>
                      <a:gd name="T48" fmla="*/ 61 w 84"/>
                      <a:gd name="T49" fmla="*/ 59 h 85"/>
                      <a:gd name="T50" fmla="*/ 40 w 84"/>
                      <a:gd name="T51" fmla="*/ 45 h 85"/>
                      <a:gd name="T52" fmla="*/ 23 w 84"/>
                      <a:gd name="T53" fmla="*/ 59 h 85"/>
                      <a:gd name="T54" fmla="*/ 40 w 84"/>
                      <a:gd name="T55" fmla="*/ 45 h 85"/>
                      <a:gd name="T56" fmla="*/ 4 w 84"/>
                      <a:gd name="T57" fmla="*/ 45 h 85"/>
                      <a:gd name="T58" fmla="*/ 21 w 84"/>
                      <a:gd name="T59" fmla="*/ 59 h 85"/>
                      <a:gd name="T60" fmla="*/ 45 w 84"/>
                      <a:gd name="T61" fmla="*/ 64 h 85"/>
                      <a:gd name="T62" fmla="*/ 59 w 84"/>
                      <a:gd name="T63" fmla="*/ 64 h 85"/>
                      <a:gd name="T64" fmla="*/ 40 w 84"/>
                      <a:gd name="T65" fmla="*/ 81 h 85"/>
                      <a:gd name="T66" fmla="*/ 25 w 84"/>
                      <a:gd name="T67" fmla="*/ 64 h 85"/>
                      <a:gd name="T68" fmla="*/ 73 w 84"/>
                      <a:gd name="T69" fmla="*/ 64 h 85"/>
                      <a:gd name="T70" fmla="*/ 54 w 84"/>
                      <a:gd name="T71" fmla="*/ 79 h 85"/>
                      <a:gd name="T72" fmla="*/ 22 w 84"/>
                      <a:gd name="T73" fmla="*/ 64 h 85"/>
                      <a:gd name="T74" fmla="*/ 30 w 84"/>
                      <a:gd name="T75" fmla="*/ 79 h 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84" h="85">
                        <a:moveTo>
                          <a:pt x="42" y="0"/>
                        </a:moveTo>
                        <a:cubicBezTo>
                          <a:pt x="65" y="0"/>
                          <a:pt x="84" y="19"/>
                          <a:pt x="84" y="43"/>
                        </a:cubicBezTo>
                        <a:cubicBezTo>
                          <a:pt x="84" y="66"/>
                          <a:pt x="65" y="85"/>
                          <a:pt x="42" y="85"/>
                        </a:cubicBezTo>
                        <a:cubicBezTo>
                          <a:pt x="19" y="85"/>
                          <a:pt x="0" y="66"/>
                          <a:pt x="0" y="43"/>
                        </a:cubicBezTo>
                        <a:cubicBezTo>
                          <a:pt x="0" y="19"/>
                          <a:pt x="19" y="0"/>
                          <a:pt x="42" y="0"/>
                        </a:cubicBezTo>
                        <a:close/>
                        <a:moveTo>
                          <a:pt x="76" y="27"/>
                        </a:moveTo>
                        <a:cubicBezTo>
                          <a:pt x="63" y="27"/>
                          <a:pt x="63" y="27"/>
                          <a:pt x="63" y="27"/>
                        </a:cubicBezTo>
                        <a:cubicBezTo>
                          <a:pt x="64" y="31"/>
                          <a:pt x="65" y="35"/>
                          <a:pt x="65" y="40"/>
                        </a:cubicBezTo>
                        <a:cubicBezTo>
                          <a:pt x="80" y="40"/>
                          <a:pt x="80" y="40"/>
                          <a:pt x="80" y="40"/>
                        </a:cubicBezTo>
                        <a:cubicBezTo>
                          <a:pt x="79" y="35"/>
                          <a:pt x="78" y="31"/>
                          <a:pt x="76" y="27"/>
                        </a:cubicBezTo>
                        <a:close/>
                        <a:moveTo>
                          <a:pt x="61" y="27"/>
                        </a:moveTo>
                        <a:cubicBezTo>
                          <a:pt x="45" y="27"/>
                          <a:pt x="45" y="27"/>
                          <a:pt x="45" y="27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62" y="40"/>
                          <a:pt x="62" y="40"/>
                          <a:pt x="62" y="40"/>
                        </a:cubicBezTo>
                        <a:cubicBezTo>
                          <a:pt x="62" y="35"/>
                          <a:pt x="62" y="31"/>
                          <a:pt x="61" y="27"/>
                        </a:cubicBezTo>
                        <a:close/>
                        <a:moveTo>
                          <a:pt x="40" y="27"/>
                        </a:moveTo>
                        <a:cubicBezTo>
                          <a:pt x="23" y="27"/>
                          <a:pt x="23" y="27"/>
                          <a:pt x="23" y="27"/>
                        </a:cubicBezTo>
                        <a:cubicBezTo>
                          <a:pt x="22" y="31"/>
                          <a:pt x="22" y="35"/>
                          <a:pt x="21" y="40"/>
                        </a:cubicBezTo>
                        <a:cubicBezTo>
                          <a:pt x="40" y="40"/>
                          <a:pt x="40" y="40"/>
                          <a:pt x="40" y="40"/>
                        </a:cubicBezTo>
                        <a:cubicBezTo>
                          <a:pt x="40" y="27"/>
                          <a:pt x="40" y="27"/>
                          <a:pt x="40" y="27"/>
                        </a:cubicBezTo>
                        <a:close/>
                        <a:moveTo>
                          <a:pt x="21" y="27"/>
                        </a:moveTo>
                        <a:cubicBezTo>
                          <a:pt x="8" y="27"/>
                          <a:pt x="8" y="27"/>
                          <a:pt x="8" y="27"/>
                        </a:cubicBezTo>
                        <a:cubicBezTo>
                          <a:pt x="6" y="31"/>
                          <a:pt x="5" y="35"/>
                          <a:pt x="4" y="40"/>
                        </a:cubicBezTo>
                        <a:cubicBezTo>
                          <a:pt x="19" y="40"/>
                          <a:pt x="19" y="40"/>
                          <a:pt x="19" y="40"/>
                        </a:cubicBezTo>
                        <a:cubicBezTo>
                          <a:pt x="19" y="35"/>
                          <a:pt x="20" y="31"/>
                          <a:pt x="21" y="27"/>
                        </a:cubicBezTo>
                        <a:close/>
                        <a:moveTo>
                          <a:pt x="10" y="21"/>
                        </a:moveTo>
                        <a:cubicBezTo>
                          <a:pt x="22" y="21"/>
                          <a:pt x="22" y="21"/>
                          <a:pt x="22" y="21"/>
                        </a:cubicBezTo>
                        <a:cubicBezTo>
                          <a:pt x="24" y="15"/>
                          <a:pt x="27" y="10"/>
                          <a:pt x="30" y="6"/>
                        </a:cubicBezTo>
                        <a:cubicBezTo>
                          <a:pt x="22" y="9"/>
                          <a:pt x="15" y="14"/>
                          <a:pt x="10" y="21"/>
                        </a:cubicBezTo>
                        <a:close/>
                        <a:moveTo>
                          <a:pt x="25" y="21"/>
                        </a:moveTo>
                        <a:cubicBezTo>
                          <a:pt x="40" y="21"/>
                          <a:pt x="40" y="21"/>
                          <a:pt x="40" y="21"/>
                        </a:cubicBezTo>
                        <a:cubicBezTo>
                          <a:pt x="40" y="4"/>
                          <a:pt x="40" y="4"/>
                          <a:pt x="40" y="4"/>
                        </a:cubicBezTo>
                        <a:cubicBezTo>
                          <a:pt x="33" y="6"/>
                          <a:pt x="28" y="12"/>
                          <a:pt x="25" y="21"/>
                        </a:cubicBezTo>
                        <a:close/>
                        <a:moveTo>
                          <a:pt x="45" y="21"/>
                        </a:moveTo>
                        <a:cubicBezTo>
                          <a:pt x="59" y="21"/>
                          <a:pt x="59" y="21"/>
                          <a:pt x="59" y="21"/>
                        </a:cubicBezTo>
                        <a:cubicBezTo>
                          <a:pt x="56" y="12"/>
                          <a:pt x="51" y="6"/>
                          <a:pt x="45" y="5"/>
                        </a:cubicBezTo>
                        <a:cubicBezTo>
                          <a:pt x="45" y="21"/>
                          <a:pt x="45" y="21"/>
                          <a:pt x="45" y="21"/>
                        </a:cubicBezTo>
                        <a:close/>
                        <a:moveTo>
                          <a:pt x="62" y="21"/>
                        </a:moveTo>
                        <a:cubicBezTo>
                          <a:pt x="73" y="21"/>
                          <a:pt x="73" y="21"/>
                          <a:pt x="73" y="21"/>
                        </a:cubicBezTo>
                        <a:cubicBezTo>
                          <a:pt x="69" y="14"/>
                          <a:pt x="62" y="9"/>
                          <a:pt x="54" y="6"/>
                        </a:cubicBezTo>
                        <a:cubicBezTo>
                          <a:pt x="57" y="10"/>
                          <a:pt x="60" y="15"/>
                          <a:pt x="62" y="21"/>
                        </a:cubicBezTo>
                        <a:close/>
                        <a:moveTo>
                          <a:pt x="80" y="45"/>
                        </a:moveTo>
                        <a:cubicBezTo>
                          <a:pt x="65" y="45"/>
                          <a:pt x="65" y="45"/>
                          <a:pt x="65" y="45"/>
                        </a:cubicBezTo>
                        <a:cubicBezTo>
                          <a:pt x="65" y="50"/>
                          <a:pt x="64" y="54"/>
                          <a:pt x="63" y="59"/>
                        </a:cubicBezTo>
                        <a:cubicBezTo>
                          <a:pt x="76" y="59"/>
                          <a:pt x="76" y="59"/>
                          <a:pt x="76" y="59"/>
                        </a:cubicBezTo>
                        <a:cubicBezTo>
                          <a:pt x="78" y="54"/>
                          <a:pt x="79" y="50"/>
                          <a:pt x="80" y="45"/>
                        </a:cubicBezTo>
                        <a:close/>
                        <a:moveTo>
                          <a:pt x="62" y="45"/>
                        </a:move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59"/>
                          <a:pt x="45" y="59"/>
                          <a:pt x="45" y="59"/>
                        </a:cubicBezTo>
                        <a:cubicBezTo>
                          <a:pt x="61" y="59"/>
                          <a:pt x="61" y="59"/>
                          <a:pt x="61" y="59"/>
                        </a:cubicBezTo>
                        <a:cubicBezTo>
                          <a:pt x="62" y="54"/>
                          <a:pt x="62" y="50"/>
                          <a:pt x="62" y="45"/>
                        </a:cubicBezTo>
                        <a:close/>
                        <a:moveTo>
                          <a:pt x="40" y="45"/>
                        </a:moveTo>
                        <a:cubicBezTo>
                          <a:pt x="21" y="45"/>
                          <a:pt x="21" y="45"/>
                          <a:pt x="21" y="45"/>
                        </a:cubicBezTo>
                        <a:cubicBezTo>
                          <a:pt x="22" y="50"/>
                          <a:pt x="22" y="54"/>
                          <a:pt x="23" y="59"/>
                        </a:cubicBezTo>
                        <a:cubicBezTo>
                          <a:pt x="40" y="59"/>
                          <a:pt x="40" y="59"/>
                          <a:pt x="40" y="59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lose/>
                        <a:moveTo>
                          <a:pt x="19" y="45"/>
                        </a:moveTo>
                        <a:cubicBezTo>
                          <a:pt x="4" y="45"/>
                          <a:pt x="4" y="45"/>
                          <a:pt x="4" y="45"/>
                        </a:cubicBezTo>
                        <a:cubicBezTo>
                          <a:pt x="5" y="50"/>
                          <a:pt x="6" y="54"/>
                          <a:pt x="8" y="59"/>
                        </a:cubicBezTo>
                        <a:cubicBezTo>
                          <a:pt x="21" y="59"/>
                          <a:pt x="21" y="59"/>
                          <a:pt x="21" y="59"/>
                        </a:cubicBezTo>
                        <a:cubicBezTo>
                          <a:pt x="20" y="54"/>
                          <a:pt x="19" y="50"/>
                          <a:pt x="19" y="45"/>
                        </a:cubicBezTo>
                        <a:close/>
                        <a:moveTo>
                          <a:pt x="45" y="64"/>
                        </a:moveTo>
                        <a:cubicBezTo>
                          <a:pt x="45" y="81"/>
                          <a:pt x="45" y="81"/>
                          <a:pt x="45" y="81"/>
                        </a:cubicBezTo>
                        <a:cubicBezTo>
                          <a:pt x="51" y="79"/>
                          <a:pt x="56" y="73"/>
                          <a:pt x="59" y="64"/>
                        </a:cubicBezTo>
                        <a:cubicBezTo>
                          <a:pt x="45" y="64"/>
                          <a:pt x="45" y="64"/>
                          <a:pt x="45" y="64"/>
                        </a:cubicBezTo>
                        <a:close/>
                        <a:moveTo>
                          <a:pt x="40" y="81"/>
                        </a:moveTo>
                        <a:cubicBezTo>
                          <a:pt x="40" y="64"/>
                          <a:pt x="40" y="64"/>
                          <a:pt x="40" y="64"/>
                        </a:cubicBezTo>
                        <a:cubicBezTo>
                          <a:pt x="25" y="64"/>
                          <a:pt x="25" y="64"/>
                          <a:pt x="25" y="64"/>
                        </a:cubicBezTo>
                        <a:cubicBezTo>
                          <a:pt x="28" y="73"/>
                          <a:pt x="33" y="79"/>
                          <a:pt x="40" y="81"/>
                        </a:cubicBezTo>
                        <a:close/>
                        <a:moveTo>
                          <a:pt x="73" y="64"/>
                        </a:moveTo>
                        <a:cubicBezTo>
                          <a:pt x="62" y="64"/>
                          <a:pt x="62" y="64"/>
                          <a:pt x="62" y="64"/>
                        </a:cubicBezTo>
                        <a:cubicBezTo>
                          <a:pt x="60" y="70"/>
                          <a:pt x="57" y="75"/>
                          <a:pt x="54" y="79"/>
                        </a:cubicBezTo>
                        <a:cubicBezTo>
                          <a:pt x="62" y="76"/>
                          <a:pt x="69" y="71"/>
                          <a:pt x="73" y="64"/>
                        </a:cubicBezTo>
                        <a:close/>
                        <a:moveTo>
                          <a:pt x="22" y="64"/>
                        </a:moveTo>
                        <a:cubicBezTo>
                          <a:pt x="11" y="64"/>
                          <a:pt x="11" y="64"/>
                          <a:pt x="11" y="64"/>
                        </a:cubicBezTo>
                        <a:cubicBezTo>
                          <a:pt x="15" y="71"/>
                          <a:pt x="22" y="76"/>
                          <a:pt x="30" y="79"/>
                        </a:cubicBezTo>
                        <a:cubicBezTo>
                          <a:pt x="27" y="75"/>
                          <a:pt x="24" y="70"/>
                          <a:pt x="22" y="6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793"/>
                    <a:endParaRPr lang="en-US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59" name="Rectangle 58"/>
                <p:cNvSpPr/>
                <p:nvPr/>
              </p:nvSpPr>
              <p:spPr>
                <a:xfrm>
                  <a:off x="2612609" y="2988957"/>
                  <a:ext cx="1081960" cy="3391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IIS Servers</a:t>
                  </a:r>
                </a:p>
              </p:txBody>
            </p:sp>
            <p:grpSp>
              <p:nvGrpSpPr>
                <p:cNvPr id="60" name="Group 59"/>
                <p:cNvGrpSpPr/>
                <p:nvPr/>
              </p:nvGrpSpPr>
              <p:grpSpPr>
                <a:xfrm>
                  <a:off x="2130075" y="3451570"/>
                  <a:ext cx="1001379" cy="1012860"/>
                  <a:chOff x="1649840" y="3451570"/>
                  <a:chExt cx="1001379" cy="1012860"/>
                </a:xfrm>
              </p:grpSpPr>
              <p:grpSp>
                <p:nvGrpSpPr>
                  <p:cNvPr id="72" name="Group 71"/>
                  <p:cNvGrpSpPr/>
                  <p:nvPr/>
                </p:nvGrpSpPr>
                <p:grpSpPr>
                  <a:xfrm>
                    <a:off x="1972774" y="3451570"/>
                    <a:ext cx="479392" cy="712232"/>
                    <a:chOff x="1972774" y="3451570"/>
                    <a:chExt cx="479392" cy="712232"/>
                  </a:xfrm>
                </p:grpSpPr>
                <p:pic>
                  <p:nvPicPr>
                    <p:cNvPr id="74" name="Picture 6" descr="\\magnum\Projects\Microsoft\Cloud Power FY12\Design\Icons\PNGs\Server_2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lum bright="100000"/>
                    </a:blip>
                    <a:srcRect l="24157" r="25929"/>
                    <a:stretch/>
                  </p:blipFill>
                  <p:spPr bwMode="auto">
                    <a:xfrm>
                      <a:off x="1972774" y="3451570"/>
                      <a:ext cx="355510" cy="712232"/>
                    </a:xfrm>
                    <a:prstGeom prst="rect">
                      <a:avLst/>
                    </a:prstGeom>
                    <a:noFill/>
                  </p:spPr>
                </p:pic>
                <p:grpSp>
                  <p:nvGrpSpPr>
                    <p:cNvPr id="75" name="Group 74"/>
                    <p:cNvGrpSpPr/>
                    <p:nvPr/>
                  </p:nvGrpSpPr>
                  <p:grpSpPr>
                    <a:xfrm>
                      <a:off x="2245986" y="3924261"/>
                      <a:ext cx="206180" cy="206424"/>
                      <a:chOff x="2245986" y="3924261"/>
                      <a:chExt cx="206180" cy="206424"/>
                    </a:xfrm>
                  </p:grpSpPr>
                  <p:grpSp>
                    <p:nvGrpSpPr>
                      <p:cNvPr id="76" name="Group 75"/>
                      <p:cNvGrpSpPr/>
                      <p:nvPr/>
                    </p:nvGrpSpPr>
                    <p:grpSpPr>
                      <a:xfrm>
                        <a:off x="2245986" y="3924261"/>
                        <a:ext cx="206180" cy="206424"/>
                        <a:chOff x="1779323" y="4627897"/>
                        <a:chExt cx="472764" cy="473323"/>
                      </a:xfrm>
                    </p:grpSpPr>
                    <p:sp>
                      <p:nvSpPr>
                        <p:cNvPr id="78" name="Isosceles Triangle 77"/>
                        <p:cNvSpPr/>
                        <p:nvPr/>
                      </p:nvSpPr>
                      <p:spPr bwMode="auto">
                        <a:xfrm>
                          <a:off x="1779323" y="4627897"/>
                          <a:ext cx="472764" cy="407555"/>
                        </a:xfrm>
                        <a:prstGeom prst="triangle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vert="horz" wrap="square" lIns="91436" tIns="45718" rIns="91436" bIns="45718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algn="ctr" defTabSz="913529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300" dirty="0">
                            <a:solidFill>
                              <a:schemeClr val="bg1"/>
                            </a:solidFill>
                            <a:latin typeface="Calibri" panose="020F0502020204030204" pitchFamily="34" charset="0"/>
                          </a:endParaRPr>
                        </a:p>
                      </p:txBody>
                    </p:sp>
                    <p:sp>
                      <p:nvSpPr>
                        <p:cNvPr id="79" name="Rectangle 78"/>
                        <p:cNvSpPr/>
                        <p:nvPr/>
                      </p:nvSpPr>
                      <p:spPr bwMode="auto">
                        <a:xfrm>
                          <a:off x="1779323" y="4824517"/>
                          <a:ext cx="472764" cy="60401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vert="horz" wrap="square" lIns="91436" tIns="45718" rIns="91436" bIns="45718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algn="ctr" defTabSz="913529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300" dirty="0">
                            <a:solidFill>
                              <a:schemeClr val="bg1"/>
                            </a:solidFill>
                            <a:latin typeface="Calibri" panose="020F0502020204030204" pitchFamily="34" charset="0"/>
                          </a:endParaRPr>
                        </a:p>
                      </p:txBody>
                    </p:sp>
                    <p:sp>
                      <p:nvSpPr>
                        <p:cNvPr id="80" name="Rectangle 79"/>
                        <p:cNvSpPr/>
                        <p:nvPr/>
                      </p:nvSpPr>
                      <p:spPr bwMode="auto">
                        <a:xfrm rot="16200000">
                          <a:off x="1881399" y="4936712"/>
                          <a:ext cx="268612" cy="60403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vert="horz" wrap="square" lIns="91436" tIns="45718" rIns="91436" bIns="45718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algn="ctr" defTabSz="913529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300" dirty="0">
                            <a:solidFill>
                              <a:schemeClr val="bg1"/>
                            </a:solidFill>
                            <a:latin typeface="Calibri" panose="020F0502020204030204" pitchFamily="34" charset="0"/>
                          </a:endParaRPr>
                        </a:p>
                      </p:txBody>
                    </p:sp>
                  </p:grpSp>
                  <p:sp>
                    <p:nvSpPr>
                      <p:cNvPr id="77" name="Isosceles Triangle 76"/>
                      <p:cNvSpPr/>
                      <p:nvPr/>
                    </p:nvSpPr>
                    <p:spPr bwMode="auto">
                      <a:xfrm>
                        <a:off x="2304709" y="3989226"/>
                        <a:ext cx="88734" cy="76495"/>
                      </a:xfrm>
                      <a:prstGeom prst="triangle">
                        <a:avLst/>
                      </a:prstGeom>
                      <a:solidFill>
                        <a:schemeClr val="accent2"/>
                      </a:solidFill>
                      <a:ln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vert="horz" wrap="square" lIns="91436" tIns="45718" rIns="91436" bIns="45718" numCol="1" rtlCol="0" anchor="ctr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algn="ctr" defTabSz="913529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3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endParaRPr>
                      </a:p>
                    </p:txBody>
                  </p:sp>
                </p:grpSp>
              </p:grpSp>
              <p:sp>
                <p:nvSpPr>
                  <p:cNvPr id="73" name="Rectangle 72"/>
                  <p:cNvSpPr/>
                  <p:nvPr/>
                </p:nvSpPr>
                <p:spPr>
                  <a:xfrm>
                    <a:off x="1649840" y="4125283"/>
                    <a:ext cx="1001379" cy="33914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 defTabSz="913529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AD / DNS</a:t>
                    </a:r>
                  </a:p>
                </p:txBody>
              </p:sp>
            </p:grpSp>
            <p:pic>
              <p:nvPicPr>
                <p:cNvPr id="61" name="Picture 2"/>
                <p:cNvPicPr>
                  <a:picLocks noChangeAspect="1" noChangeArrowheads="1"/>
                </p:cNvPicPr>
                <p:nvPr/>
              </p:nvPicPr>
              <p:blipFill rotWithShape="1">
                <a:blip r:embed="rId2" cstate="print">
                  <a:lum bright="100000" contrast="100000"/>
                </a:blip>
                <a:srcRect l="9422" t="9591" r="8195" b="13220"/>
                <a:stretch/>
              </p:blipFill>
              <p:spPr bwMode="auto">
                <a:xfrm>
                  <a:off x="1521605" y="2369636"/>
                  <a:ext cx="733110" cy="6293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62" name="Rectangle 61"/>
                <p:cNvSpPr/>
                <p:nvPr/>
              </p:nvSpPr>
              <p:spPr>
                <a:xfrm>
                  <a:off x="1356573" y="2957134"/>
                  <a:ext cx="1201821" cy="33914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SQL Servers</a:t>
                  </a:r>
                </a:p>
              </p:txBody>
            </p:sp>
            <p:pic>
              <p:nvPicPr>
                <p:cNvPr id="63" name="Picture 2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clrChange>
                    <a:clrFrom>
                      <a:srgbClr val="4EB1E4"/>
                    </a:clrFrom>
                    <a:clrTo>
                      <a:srgbClr val="4EB1E4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60071" y="2677961"/>
                  <a:ext cx="333337" cy="30258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64" name="Group 63"/>
                <p:cNvGrpSpPr/>
                <p:nvPr/>
              </p:nvGrpSpPr>
              <p:grpSpPr>
                <a:xfrm>
                  <a:off x="2090496" y="4442923"/>
                  <a:ext cx="1022822" cy="1074497"/>
                  <a:chOff x="1752092" y="4442923"/>
                  <a:chExt cx="1022822" cy="1074497"/>
                </a:xfrm>
              </p:grpSpPr>
              <p:pic>
                <p:nvPicPr>
                  <p:cNvPr id="69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 contrast="10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09804" y="4442923"/>
                    <a:ext cx="965110" cy="8842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</p:pic>
              <p:sp>
                <p:nvSpPr>
                  <p:cNvPr id="70" name="Rectangle 69"/>
                  <p:cNvSpPr/>
                  <p:nvPr/>
                </p:nvSpPr>
                <p:spPr>
                  <a:xfrm>
                    <a:off x="1752092" y="5178273"/>
                    <a:ext cx="1011977" cy="33914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 defTabSz="913529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Exchange</a:t>
                    </a:r>
                  </a:p>
                </p:txBody>
              </p:sp>
              <p:sp>
                <p:nvSpPr>
                  <p:cNvPr id="71" name="Freeform 128"/>
                  <p:cNvSpPr>
                    <a:spLocks noEditPoints="1"/>
                  </p:cNvSpPr>
                  <p:nvPr/>
                </p:nvSpPr>
                <p:spPr bwMode="black">
                  <a:xfrm>
                    <a:off x="2433694" y="4961317"/>
                    <a:ext cx="322748" cy="225728"/>
                  </a:xfrm>
                  <a:custGeom>
                    <a:avLst/>
                    <a:gdLst>
                      <a:gd name="T0" fmla="*/ 7 w 300"/>
                      <a:gd name="T1" fmla="*/ 0 h 210"/>
                      <a:gd name="T2" fmla="*/ 293 w 300"/>
                      <a:gd name="T3" fmla="*/ 0 h 210"/>
                      <a:gd name="T4" fmla="*/ 150 w 300"/>
                      <a:gd name="T5" fmla="*/ 120 h 210"/>
                      <a:gd name="T6" fmla="*/ 7 w 300"/>
                      <a:gd name="T7" fmla="*/ 0 h 210"/>
                      <a:gd name="T8" fmla="*/ 153 w 300"/>
                      <a:gd name="T9" fmla="*/ 130 h 210"/>
                      <a:gd name="T10" fmla="*/ 153 w 300"/>
                      <a:gd name="T11" fmla="*/ 130 h 210"/>
                      <a:gd name="T12" fmla="*/ 153 w 300"/>
                      <a:gd name="T13" fmla="*/ 131 h 210"/>
                      <a:gd name="T14" fmla="*/ 152 w 300"/>
                      <a:gd name="T15" fmla="*/ 131 h 210"/>
                      <a:gd name="T16" fmla="*/ 152 w 300"/>
                      <a:gd name="T17" fmla="*/ 131 h 210"/>
                      <a:gd name="T18" fmla="*/ 151 w 300"/>
                      <a:gd name="T19" fmla="*/ 131 h 210"/>
                      <a:gd name="T20" fmla="*/ 151 w 300"/>
                      <a:gd name="T21" fmla="*/ 131 h 210"/>
                      <a:gd name="T22" fmla="*/ 150 w 300"/>
                      <a:gd name="T23" fmla="*/ 131 h 210"/>
                      <a:gd name="T24" fmla="*/ 150 w 300"/>
                      <a:gd name="T25" fmla="*/ 131 h 210"/>
                      <a:gd name="T26" fmla="*/ 150 w 300"/>
                      <a:gd name="T27" fmla="*/ 131 h 210"/>
                      <a:gd name="T28" fmla="*/ 149 w 300"/>
                      <a:gd name="T29" fmla="*/ 131 h 210"/>
                      <a:gd name="T30" fmla="*/ 149 w 300"/>
                      <a:gd name="T31" fmla="*/ 131 h 210"/>
                      <a:gd name="T32" fmla="*/ 148 w 300"/>
                      <a:gd name="T33" fmla="*/ 131 h 210"/>
                      <a:gd name="T34" fmla="*/ 148 w 300"/>
                      <a:gd name="T35" fmla="*/ 131 h 210"/>
                      <a:gd name="T36" fmla="*/ 147 w 300"/>
                      <a:gd name="T37" fmla="*/ 131 h 210"/>
                      <a:gd name="T38" fmla="*/ 147 w 300"/>
                      <a:gd name="T39" fmla="*/ 130 h 210"/>
                      <a:gd name="T40" fmla="*/ 147 w 300"/>
                      <a:gd name="T41" fmla="*/ 130 h 210"/>
                      <a:gd name="T42" fmla="*/ 125 w 300"/>
                      <a:gd name="T43" fmla="*/ 112 h 210"/>
                      <a:gd name="T44" fmla="*/ 8 w 300"/>
                      <a:gd name="T45" fmla="*/ 210 h 210"/>
                      <a:gd name="T46" fmla="*/ 293 w 300"/>
                      <a:gd name="T47" fmla="*/ 210 h 210"/>
                      <a:gd name="T48" fmla="*/ 175 w 300"/>
                      <a:gd name="T49" fmla="*/ 112 h 210"/>
                      <a:gd name="T50" fmla="*/ 153 w 300"/>
                      <a:gd name="T51" fmla="*/ 130 h 210"/>
                      <a:gd name="T52" fmla="*/ 0 w 300"/>
                      <a:gd name="T53" fmla="*/ 6 h 210"/>
                      <a:gd name="T54" fmla="*/ 0 w 300"/>
                      <a:gd name="T55" fmla="*/ 204 h 210"/>
                      <a:gd name="T56" fmla="*/ 118 w 300"/>
                      <a:gd name="T57" fmla="*/ 106 h 210"/>
                      <a:gd name="T58" fmla="*/ 0 w 300"/>
                      <a:gd name="T59" fmla="*/ 6 h 210"/>
                      <a:gd name="T60" fmla="*/ 182 w 300"/>
                      <a:gd name="T61" fmla="*/ 106 h 210"/>
                      <a:gd name="T62" fmla="*/ 300 w 300"/>
                      <a:gd name="T63" fmla="*/ 204 h 210"/>
                      <a:gd name="T64" fmla="*/ 300 w 300"/>
                      <a:gd name="T65" fmla="*/ 6 h 210"/>
                      <a:gd name="T66" fmla="*/ 182 w 300"/>
                      <a:gd name="T67" fmla="*/ 106 h 2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00" h="210">
                        <a:moveTo>
                          <a:pt x="7" y="0"/>
                        </a:moveTo>
                        <a:cubicBezTo>
                          <a:pt x="293" y="0"/>
                          <a:pt x="293" y="0"/>
                          <a:pt x="293" y="0"/>
                        </a:cubicBezTo>
                        <a:cubicBezTo>
                          <a:pt x="150" y="120"/>
                          <a:pt x="150" y="120"/>
                          <a:pt x="150" y="120"/>
                        </a:cubicBezTo>
                        <a:lnTo>
                          <a:pt x="7" y="0"/>
                        </a:lnTo>
                        <a:close/>
                        <a:moveTo>
                          <a:pt x="153" y="130"/>
                        </a:moveTo>
                        <a:cubicBezTo>
                          <a:pt x="153" y="130"/>
                          <a:pt x="153" y="130"/>
                          <a:pt x="153" y="130"/>
                        </a:cubicBezTo>
                        <a:cubicBezTo>
                          <a:pt x="153" y="130"/>
                          <a:pt x="153" y="130"/>
                          <a:pt x="153" y="131"/>
                        </a:cubicBezTo>
                        <a:cubicBezTo>
                          <a:pt x="153" y="131"/>
                          <a:pt x="152" y="131"/>
                          <a:pt x="152" y="131"/>
                        </a:cubicBezTo>
                        <a:cubicBezTo>
                          <a:pt x="152" y="131"/>
                          <a:pt x="152" y="131"/>
                          <a:pt x="152" y="131"/>
                        </a:cubicBezTo>
                        <a:cubicBezTo>
                          <a:pt x="152" y="131"/>
                          <a:pt x="151" y="131"/>
                          <a:pt x="151" y="131"/>
                        </a:cubicBezTo>
                        <a:cubicBezTo>
                          <a:pt x="151" y="131"/>
                          <a:pt x="151" y="131"/>
                          <a:pt x="151" y="131"/>
                        </a:cubicBezTo>
                        <a:cubicBezTo>
                          <a:pt x="151" y="131"/>
                          <a:pt x="150" y="131"/>
                          <a:pt x="150" y="131"/>
                        </a:cubicBezTo>
                        <a:cubicBezTo>
                          <a:pt x="150" y="131"/>
                          <a:pt x="150" y="131"/>
                          <a:pt x="150" y="131"/>
                        </a:cubicBezTo>
                        <a:cubicBezTo>
                          <a:pt x="150" y="131"/>
                          <a:pt x="150" y="131"/>
                          <a:pt x="150" y="131"/>
                        </a:cubicBezTo>
                        <a:cubicBezTo>
                          <a:pt x="150" y="131"/>
                          <a:pt x="149" y="131"/>
                          <a:pt x="149" y="131"/>
                        </a:cubicBezTo>
                        <a:cubicBezTo>
                          <a:pt x="149" y="131"/>
                          <a:pt x="149" y="131"/>
                          <a:pt x="149" y="131"/>
                        </a:cubicBezTo>
                        <a:cubicBezTo>
                          <a:pt x="149" y="131"/>
                          <a:pt x="148" y="131"/>
                          <a:pt x="148" y="131"/>
                        </a:cubicBezTo>
                        <a:cubicBezTo>
                          <a:pt x="148" y="131"/>
                          <a:pt x="148" y="131"/>
                          <a:pt x="148" y="131"/>
                        </a:cubicBezTo>
                        <a:cubicBezTo>
                          <a:pt x="148" y="131"/>
                          <a:pt x="148" y="131"/>
                          <a:pt x="147" y="131"/>
                        </a:cubicBezTo>
                        <a:cubicBezTo>
                          <a:pt x="147" y="130"/>
                          <a:pt x="147" y="130"/>
                          <a:pt x="147" y="130"/>
                        </a:cubicBezTo>
                        <a:cubicBezTo>
                          <a:pt x="147" y="130"/>
                          <a:pt x="147" y="130"/>
                          <a:pt x="147" y="130"/>
                        </a:cubicBezTo>
                        <a:cubicBezTo>
                          <a:pt x="125" y="112"/>
                          <a:pt x="125" y="112"/>
                          <a:pt x="125" y="112"/>
                        </a:cubicBezTo>
                        <a:cubicBezTo>
                          <a:pt x="8" y="210"/>
                          <a:pt x="8" y="210"/>
                          <a:pt x="8" y="210"/>
                        </a:cubicBezTo>
                        <a:cubicBezTo>
                          <a:pt x="293" y="210"/>
                          <a:pt x="293" y="210"/>
                          <a:pt x="293" y="210"/>
                        </a:cubicBezTo>
                        <a:cubicBezTo>
                          <a:pt x="175" y="112"/>
                          <a:pt x="175" y="112"/>
                          <a:pt x="175" y="112"/>
                        </a:cubicBezTo>
                        <a:lnTo>
                          <a:pt x="153" y="130"/>
                        </a:lnTo>
                        <a:close/>
                        <a:moveTo>
                          <a:pt x="0" y="6"/>
                        </a:moveTo>
                        <a:cubicBezTo>
                          <a:pt x="0" y="204"/>
                          <a:pt x="0" y="204"/>
                          <a:pt x="0" y="204"/>
                        </a:cubicBezTo>
                        <a:cubicBezTo>
                          <a:pt x="118" y="106"/>
                          <a:pt x="118" y="106"/>
                          <a:pt x="118" y="106"/>
                        </a:cubicBezTo>
                        <a:lnTo>
                          <a:pt x="0" y="6"/>
                        </a:lnTo>
                        <a:close/>
                        <a:moveTo>
                          <a:pt x="182" y="106"/>
                        </a:moveTo>
                        <a:cubicBezTo>
                          <a:pt x="300" y="204"/>
                          <a:pt x="300" y="204"/>
                          <a:pt x="300" y="204"/>
                        </a:cubicBezTo>
                        <a:cubicBezTo>
                          <a:pt x="300" y="6"/>
                          <a:pt x="300" y="6"/>
                          <a:pt x="300" y="6"/>
                        </a:cubicBezTo>
                        <a:lnTo>
                          <a:pt x="182" y="10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2305" tIns="41153" rIns="82305" bIns="41153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793"/>
                    <a:endParaRPr lang="en-US" sz="16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65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3478935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6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3955892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7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4432849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8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4909805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31" name="Group 30"/>
              <p:cNvGrpSpPr/>
              <p:nvPr/>
            </p:nvGrpSpPr>
            <p:grpSpPr>
              <a:xfrm>
                <a:off x="3009580" y="3223772"/>
                <a:ext cx="971938" cy="1196487"/>
                <a:chOff x="3294765" y="3425018"/>
                <a:chExt cx="971938" cy="1196485"/>
              </a:xfrm>
            </p:grpSpPr>
            <p:pic>
              <p:nvPicPr>
                <p:cNvPr id="54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3602978" y="3425018"/>
                  <a:ext cx="355510" cy="712232"/>
                </a:xfrm>
                <a:prstGeom prst="rect">
                  <a:avLst/>
                </a:prstGeom>
                <a:noFill/>
              </p:spPr>
            </p:pic>
            <p:sp>
              <p:nvSpPr>
                <p:cNvPr id="55" name="Rectangle 54"/>
                <p:cNvSpPr/>
                <p:nvPr/>
              </p:nvSpPr>
              <p:spPr>
                <a:xfrm>
                  <a:off x="3294765" y="4064332"/>
                  <a:ext cx="971938" cy="55717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S2S VPN </a:t>
                  </a:r>
                  <a:b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</a:b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Device</a:t>
                  </a:r>
                </a:p>
              </p:txBody>
            </p:sp>
          </p:grpSp>
          <p:grpSp>
            <p:nvGrpSpPr>
              <p:cNvPr id="32" name="Group 31"/>
              <p:cNvGrpSpPr/>
              <p:nvPr/>
            </p:nvGrpSpPr>
            <p:grpSpPr>
              <a:xfrm>
                <a:off x="4502875" y="1767148"/>
                <a:ext cx="430451" cy="1081861"/>
                <a:chOff x="4409404" y="1676776"/>
                <a:chExt cx="510347" cy="1282665"/>
              </a:xfrm>
            </p:grpSpPr>
            <p:sp>
              <p:nvSpPr>
                <p:cNvPr id="51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4409404" y="1676776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2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4409404" y="2153733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3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4409404" y="2630689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33" name="Group 32"/>
              <p:cNvGrpSpPr/>
              <p:nvPr/>
            </p:nvGrpSpPr>
            <p:grpSpPr>
              <a:xfrm>
                <a:off x="3302455" y="1905787"/>
                <a:ext cx="1200422" cy="804576"/>
                <a:chOff x="3587658" y="2107080"/>
                <a:chExt cx="1200422" cy="804576"/>
              </a:xfrm>
            </p:grpSpPr>
            <p:cxnSp>
              <p:nvCxnSpPr>
                <p:cNvPr id="48" name="Straight Arrow Connector 47"/>
                <p:cNvCxnSpPr/>
                <p:nvPr/>
              </p:nvCxnSpPr>
              <p:spPr>
                <a:xfrm flipH="1">
                  <a:off x="3602978" y="2107080"/>
                  <a:ext cx="1185102" cy="609069"/>
                </a:xfrm>
                <a:prstGeom prst="straightConnector1">
                  <a:avLst/>
                </a:prstGeom>
                <a:ln w="19050">
                  <a:solidFill>
                    <a:schemeClr val="tx2"/>
                  </a:solidFill>
                  <a:headEnd type="none" w="med" len="sm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Arrow Connector 48"/>
                <p:cNvCxnSpPr/>
                <p:nvPr/>
              </p:nvCxnSpPr>
              <p:spPr>
                <a:xfrm flipH="1">
                  <a:off x="3602978" y="2509368"/>
                  <a:ext cx="1185102" cy="206782"/>
                </a:xfrm>
                <a:prstGeom prst="straightConnector1">
                  <a:avLst/>
                </a:prstGeom>
                <a:ln w="19050">
                  <a:solidFill>
                    <a:schemeClr val="tx2"/>
                  </a:solidFill>
                  <a:headEnd type="none" w="med" len="sm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Arrow Connector 49"/>
                <p:cNvCxnSpPr/>
                <p:nvPr/>
              </p:nvCxnSpPr>
              <p:spPr>
                <a:xfrm flipH="1" flipV="1">
                  <a:off x="3587658" y="2716150"/>
                  <a:ext cx="1200422" cy="195506"/>
                </a:xfrm>
                <a:prstGeom prst="straightConnector1">
                  <a:avLst/>
                </a:prstGeom>
                <a:ln w="19050">
                  <a:solidFill>
                    <a:schemeClr val="tx2"/>
                  </a:solidFill>
                  <a:headEnd type="none" w="med" len="sm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" name="Group 33"/>
              <p:cNvGrpSpPr/>
              <p:nvPr/>
            </p:nvGrpSpPr>
            <p:grpSpPr>
              <a:xfrm>
                <a:off x="2713792" y="2231852"/>
                <a:ext cx="576145" cy="712232"/>
                <a:chOff x="9944860" y="5187045"/>
                <a:chExt cx="576144" cy="712232"/>
              </a:xfrm>
            </p:grpSpPr>
            <p:sp>
              <p:nvSpPr>
                <p:cNvPr id="46" name="Freeform 6"/>
                <p:cNvSpPr>
                  <a:spLocks noChangeAspect="1" noEditPoints="1"/>
                </p:cNvSpPr>
                <p:nvPr/>
              </p:nvSpPr>
              <p:spPr bwMode="black">
                <a:xfrm>
                  <a:off x="10192459" y="5526355"/>
                  <a:ext cx="328545" cy="332665"/>
                </a:xfrm>
                <a:custGeom>
                  <a:avLst/>
                  <a:gdLst>
                    <a:gd name="T0" fmla="*/ 84 w 84"/>
                    <a:gd name="T1" fmla="*/ 43 h 85"/>
                    <a:gd name="T2" fmla="*/ 0 w 84"/>
                    <a:gd name="T3" fmla="*/ 43 h 85"/>
                    <a:gd name="T4" fmla="*/ 76 w 84"/>
                    <a:gd name="T5" fmla="*/ 27 h 85"/>
                    <a:gd name="T6" fmla="*/ 65 w 84"/>
                    <a:gd name="T7" fmla="*/ 40 h 85"/>
                    <a:gd name="T8" fmla="*/ 76 w 84"/>
                    <a:gd name="T9" fmla="*/ 27 h 85"/>
                    <a:gd name="T10" fmla="*/ 45 w 84"/>
                    <a:gd name="T11" fmla="*/ 27 h 85"/>
                    <a:gd name="T12" fmla="*/ 62 w 84"/>
                    <a:gd name="T13" fmla="*/ 40 h 85"/>
                    <a:gd name="T14" fmla="*/ 40 w 84"/>
                    <a:gd name="T15" fmla="*/ 27 h 85"/>
                    <a:gd name="T16" fmla="*/ 21 w 84"/>
                    <a:gd name="T17" fmla="*/ 40 h 85"/>
                    <a:gd name="T18" fmla="*/ 40 w 84"/>
                    <a:gd name="T19" fmla="*/ 27 h 85"/>
                    <a:gd name="T20" fmla="*/ 8 w 84"/>
                    <a:gd name="T21" fmla="*/ 27 h 85"/>
                    <a:gd name="T22" fmla="*/ 19 w 84"/>
                    <a:gd name="T23" fmla="*/ 40 h 85"/>
                    <a:gd name="T24" fmla="*/ 10 w 84"/>
                    <a:gd name="T25" fmla="*/ 21 h 85"/>
                    <a:gd name="T26" fmla="*/ 30 w 84"/>
                    <a:gd name="T27" fmla="*/ 6 h 85"/>
                    <a:gd name="T28" fmla="*/ 25 w 84"/>
                    <a:gd name="T29" fmla="*/ 21 h 85"/>
                    <a:gd name="T30" fmla="*/ 40 w 84"/>
                    <a:gd name="T31" fmla="*/ 4 h 85"/>
                    <a:gd name="T32" fmla="*/ 45 w 84"/>
                    <a:gd name="T33" fmla="*/ 21 h 85"/>
                    <a:gd name="T34" fmla="*/ 45 w 84"/>
                    <a:gd name="T35" fmla="*/ 5 h 85"/>
                    <a:gd name="T36" fmla="*/ 62 w 84"/>
                    <a:gd name="T37" fmla="*/ 21 h 85"/>
                    <a:gd name="T38" fmla="*/ 54 w 84"/>
                    <a:gd name="T39" fmla="*/ 6 h 85"/>
                    <a:gd name="T40" fmla="*/ 80 w 84"/>
                    <a:gd name="T41" fmla="*/ 45 h 85"/>
                    <a:gd name="T42" fmla="*/ 63 w 84"/>
                    <a:gd name="T43" fmla="*/ 59 h 85"/>
                    <a:gd name="T44" fmla="*/ 80 w 84"/>
                    <a:gd name="T45" fmla="*/ 45 h 85"/>
                    <a:gd name="T46" fmla="*/ 45 w 84"/>
                    <a:gd name="T47" fmla="*/ 45 h 85"/>
                    <a:gd name="T48" fmla="*/ 61 w 84"/>
                    <a:gd name="T49" fmla="*/ 59 h 85"/>
                    <a:gd name="T50" fmla="*/ 40 w 84"/>
                    <a:gd name="T51" fmla="*/ 45 h 85"/>
                    <a:gd name="T52" fmla="*/ 23 w 84"/>
                    <a:gd name="T53" fmla="*/ 59 h 85"/>
                    <a:gd name="T54" fmla="*/ 40 w 84"/>
                    <a:gd name="T55" fmla="*/ 45 h 85"/>
                    <a:gd name="T56" fmla="*/ 4 w 84"/>
                    <a:gd name="T57" fmla="*/ 45 h 85"/>
                    <a:gd name="T58" fmla="*/ 21 w 84"/>
                    <a:gd name="T59" fmla="*/ 59 h 85"/>
                    <a:gd name="T60" fmla="*/ 45 w 84"/>
                    <a:gd name="T61" fmla="*/ 64 h 85"/>
                    <a:gd name="T62" fmla="*/ 59 w 84"/>
                    <a:gd name="T63" fmla="*/ 64 h 85"/>
                    <a:gd name="T64" fmla="*/ 40 w 84"/>
                    <a:gd name="T65" fmla="*/ 81 h 85"/>
                    <a:gd name="T66" fmla="*/ 25 w 84"/>
                    <a:gd name="T67" fmla="*/ 64 h 85"/>
                    <a:gd name="T68" fmla="*/ 73 w 84"/>
                    <a:gd name="T69" fmla="*/ 64 h 85"/>
                    <a:gd name="T70" fmla="*/ 54 w 84"/>
                    <a:gd name="T71" fmla="*/ 79 h 85"/>
                    <a:gd name="T72" fmla="*/ 22 w 84"/>
                    <a:gd name="T73" fmla="*/ 64 h 85"/>
                    <a:gd name="T74" fmla="*/ 30 w 84"/>
                    <a:gd name="T75" fmla="*/ 79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4" h="85">
                      <a:moveTo>
                        <a:pt x="42" y="0"/>
                      </a:moveTo>
                      <a:cubicBezTo>
                        <a:pt x="65" y="0"/>
                        <a:pt x="84" y="19"/>
                        <a:pt x="84" y="43"/>
                      </a:cubicBezTo>
                      <a:cubicBezTo>
                        <a:pt x="84" y="66"/>
                        <a:pt x="65" y="85"/>
                        <a:pt x="42" y="85"/>
                      </a:cubicBezTo>
                      <a:cubicBezTo>
                        <a:pt x="19" y="85"/>
                        <a:pt x="0" y="66"/>
                        <a:pt x="0" y="43"/>
                      </a:cubicBezTo>
                      <a:cubicBezTo>
                        <a:pt x="0" y="19"/>
                        <a:pt x="19" y="0"/>
                        <a:pt x="42" y="0"/>
                      </a:cubicBezTo>
                      <a:close/>
                      <a:moveTo>
                        <a:pt x="76" y="27"/>
                      </a:move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64" y="31"/>
                        <a:pt x="65" y="35"/>
                        <a:pt x="65" y="40"/>
                      </a:cubicBezTo>
                      <a:cubicBezTo>
                        <a:pt x="80" y="40"/>
                        <a:pt x="80" y="40"/>
                        <a:pt x="80" y="40"/>
                      </a:cubicBezTo>
                      <a:cubicBezTo>
                        <a:pt x="79" y="35"/>
                        <a:pt x="78" y="31"/>
                        <a:pt x="76" y="27"/>
                      </a:cubicBezTo>
                      <a:close/>
                      <a:moveTo>
                        <a:pt x="61" y="27"/>
                      </a:moveTo>
                      <a:cubicBezTo>
                        <a:pt x="45" y="27"/>
                        <a:pt x="45" y="27"/>
                        <a:pt x="45" y="27"/>
                      </a:cubicBezTo>
                      <a:cubicBezTo>
                        <a:pt x="45" y="40"/>
                        <a:pt x="45" y="40"/>
                        <a:pt x="45" y="40"/>
                      </a:cubicBezTo>
                      <a:cubicBezTo>
                        <a:pt x="62" y="40"/>
                        <a:pt x="62" y="40"/>
                        <a:pt x="62" y="40"/>
                      </a:cubicBezTo>
                      <a:cubicBezTo>
                        <a:pt x="62" y="35"/>
                        <a:pt x="62" y="31"/>
                        <a:pt x="61" y="27"/>
                      </a:cubicBezTo>
                      <a:close/>
                      <a:moveTo>
                        <a:pt x="40" y="27"/>
                      </a:move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2" y="31"/>
                        <a:pt x="22" y="35"/>
                        <a:pt x="21" y="40"/>
                      </a:cubicBezTo>
                      <a:cubicBezTo>
                        <a:pt x="40" y="40"/>
                        <a:pt x="40" y="40"/>
                        <a:pt x="40" y="40"/>
                      </a:cubicBezTo>
                      <a:cubicBezTo>
                        <a:pt x="40" y="27"/>
                        <a:pt x="40" y="27"/>
                        <a:pt x="40" y="27"/>
                      </a:cubicBezTo>
                      <a:close/>
                      <a:moveTo>
                        <a:pt x="21" y="27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6" y="31"/>
                        <a:pt x="5" y="35"/>
                        <a:pt x="4" y="40"/>
                      </a:cubicBezTo>
                      <a:cubicBezTo>
                        <a:pt x="19" y="40"/>
                        <a:pt x="19" y="40"/>
                        <a:pt x="19" y="40"/>
                      </a:cubicBezTo>
                      <a:cubicBezTo>
                        <a:pt x="19" y="35"/>
                        <a:pt x="20" y="31"/>
                        <a:pt x="21" y="27"/>
                      </a:cubicBezTo>
                      <a:close/>
                      <a:moveTo>
                        <a:pt x="10" y="21"/>
                      </a:moveTo>
                      <a:cubicBezTo>
                        <a:pt x="22" y="21"/>
                        <a:pt x="22" y="21"/>
                        <a:pt x="22" y="21"/>
                      </a:cubicBezTo>
                      <a:cubicBezTo>
                        <a:pt x="24" y="15"/>
                        <a:pt x="27" y="10"/>
                        <a:pt x="30" y="6"/>
                      </a:cubicBezTo>
                      <a:cubicBezTo>
                        <a:pt x="22" y="9"/>
                        <a:pt x="15" y="14"/>
                        <a:pt x="10" y="21"/>
                      </a:cubicBezTo>
                      <a:close/>
                      <a:moveTo>
                        <a:pt x="25" y="21"/>
                      </a:move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33" y="6"/>
                        <a:pt x="28" y="12"/>
                        <a:pt x="25" y="21"/>
                      </a:cubicBezTo>
                      <a:close/>
                      <a:moveTo>
                        <a:pt x="45" y="21"/>
                      </a:moveTo>
                      <a:cubicBezTo>
                        <a:pt x="59" y="21"/>
                        <a:pt x="59" y="21"/>
                        <a:pt x="59" y="21"/>
                      </a:cubicBezTo>
                      <a:cubicBezTo>
                        <a:pt x="56" y="12"/>
                        <a:pt x="51" y="6"/>
                        <a:pt x="45" y="5"/>
                      </a:cubicBezTo>
                      <a:cubicBezTo>
                        <a:pt x="45" y="21"/>
                        <a:pt x="45" y="21"/>
                        <a:pt x="45" y="21"/>
                      </a:cubicBezTo>
                      <a:close/>
                      <a:moveTo>
                        <a:pt x="62" y="21"/>
                      </a:moveTo>
                      <a:cubicBezTo>
                        <a:pt x="73" y="21"/>
                        <a:pt x="73" y="21"/>
                        <a:pt x="73" y="21"/>
                      </a:cubicBezTo>
                      <a:cubicBezTo>
                        <a:pt x="69" y="14"/>
                        <a:pt x="62" y="9"/>
                        <a:pt x="54" y="6"/>
                      </a:cubicBezTo>
                      <a:cubicBezTo>
                        <a:pt x="57" y="10"/>
                        <a:pt x="60" y="15"/>
                        <a:pt x="62" y="21"/>
                      </a:cubicBezTo>
                      <a:close/>
                      <a:moveTo>
                        <a:pt x="80" y="45"/>
                      </a:moveTo>
                      <a:cubicBezTo>
                        <a:pt x="65" y="45"/>
                        <a:pt x="65" y="45"/>
                        <a:pt x="65" y="45"/>
                      </a:cubicBezTo>
                      <a:cubicBezTo>
                        <a:pt x="65" y="50"/>
                        <a:pt x="64" y="54"/>
                        <a:pt x="63" y="59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8" y="54"/>
                        <a:pt x="79" y="50"/>
                        <a:pt x="80" y="45"/>
                      </a:cubicBezTo>
                      <a:close/>
                      <a:moveTo>
                        <a:pt x="62" y="45"/>
                      </a:moveTo>
                      <a:cubicBezTo>
                        <a:pt x="45" y="45"/>
                        <a:pt x="45" y="45"/>
                        <a:pt x="45" y="45"/>
                      </a:cubicBezTo>
                      <a:cubicBezTo>
                        <a:pt x="45" y="59"/>
                        <a:pt x="45" y="59"/>
                        <a:pt x="45" y="59"/>
                      </a:cubicBezTo>
                      <a:cubicBezTo>
                        <a:pt x="61" y="59"/>
                        <a:pt x="61" y="59"/>
                        <a:pt x="61" y="59"/>
                      </a:cubicBezTo>
                      <a:cubicBezTo>
                        <a:pt x="62" y="54"/>
                        <a:pt x="62" y="50"/>
                        <a:pt x="62" y="45"/>
                      </a:cubicBezTo>
                      <a:close/>
                      <a:moveTo>
                        <a:pt x="40" y="45"/>
                      </a:moveTo>
                      <a:cubicBezTo>
                        <a:pt x="21" y="45"/>
                        <a:pt x="21" y="45"/>
                        <a:pt x="21" y="45"/>
                      </a:cubicBezTo>
                      <a:cubicBezTo>
                        <a:pt x="22" y="50"/>
                        <a:pt x="22" y="54"/>
                        <a:pt x="23" y="59"/>
                      </a:cubicBezTo>
                      <a:cubicBezTo>
                        <a:pt x="40" y="59"/>
                        <a:pt x="40" y="59"/>
                        <a:pt x="40" y="59"/>
                      </a:cubicBezTo>
                      <a:cubicBezTo>
                        <a:pt x="40" y="45"/>
                        <a:pt x="40" y="45"/>
                        <a:pt x="40" y="45"/>
                      </a:cubicBezTo>
                      <a:close/>
                      <a:moveTo>
                        <a:pt x="19" y="45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5" y="50"/>
                        <a:pt x="6" y="54"/>
                        <a:pt x="8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20" y="54"/>
                        <a:pt x="19" y="50"/>
                        <a:pt x="19" y="45"/>
                      </a:cubicBezTo>
                      <a:close/>
                      <a:moveTo>
                        <a:pt x="45" y="64"/>
                      </a:moveTo>
                      <a:cubicBezTo>
                        <a:pt x="45" y="81"/>
                        <a:pt x="45" y="81"/>
                        <a:pt x="45" y="81"/>
                      </a:cubicBezTo>
                      <a:cubicBezTo>
                        <a:pt x="51" y="79"/>
                        <a:pt x="56" y="73"/>
                        <a:pt x="59" y="64"/>
                      </a:cubicBezTo>
                      <a:cubicBezTo>
                        <a:pt x="45" y="64"/>
                        <a:pt x="45" y="64"/>
                        <a:pt x="45" y="64"/>
                      </a:cubicBezTo>
                      <a:close/>
                      <a:moveTo>
                        <a:pt x="40" y="81"/>
                      </a:moveTo>
                      <a:cubicBezTo>
                        <a:pt x="40" y="64"/>
                        <a:pt x="40" y="64"/>
                        <a:pt x="40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28" y="73"/>
                        <a:pt x="33" y="79"/>
                        <a:pt x="40" y="81"/>
                      </a:cubicBezTo>
                      <a:close/>
                      <a:moveTo>
                        <a:pt x="73" y="64"/>
                      </a:move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60" y="70"/>
                        <a:pt x="57" y="75"/>
                        <a:pt x="54" y="79"/>
                      </a:cubicBezTo>
                      <a:cubicBezTo>
                        <a:pt x="62" y="76"/>
                        <a:pt x="69" y="71"/>
                        <a:pt x="73" y="64"/>
                      </a:cubicBezTo>
                      <a:close/>
                      <a:moveTo>
                        <a:pt x="22" y="64"/>
                      </a:moveTo>
                      <a:cubicBezTo>
                        <a:pt x="11" y="64"/>
                        <a:pt x="11" y="64"/>
                        <a:pt x="11" y="64"/>
                      </a:cubicBezTo>
                      <a:cubicBezTo>
                        <a:pt x="15" y="71"/>
                        <a:pt x="22" y="76"/>
                        <a:pt x="30" y="79"/>
                      </a:cubicBezTo>
                      <a:cubicBezTo>
                        <a:pt x="27" y="75"/>
                        <a:pt x="24" y="70"/>
                        <a:pt x="22" y="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pic>
              <p:nvPicPr>
                <p:cNvPr id="47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9944860" y="5187045"/>
                  <a:ext cx="355510" cy="712232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35" name="Group 34"/>
              <p:cNvGrpSpPr/>
              <p:nvPr/>
            </p:nvGrpSpPr>
            <p:grpSpPr>
              <a:xfrm>
                <a:off x="1493287" y="2242485"/>
                <a:ext cx="604285" cy="712232"/>
                <a:chOff x="4647795" y="6723311"/>
                <a:chExt cx="604285" cy="712232"/>
              </a:xfrm>
            </p:grpSpPr>
            <p:pic>
              <p:nvPicPr>
                <p:cNvPr id="44" name="Picture 2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clrChange>
                    <a:clrFrom>
                      <a:srgbClr val="4EB1E4"/>
                    </a:clrFrom>
                    <a:clrTo>
                      <a:srgbClr val="4EB1E4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918743" y="7037593"/>
                  <a:ext cx="333337" cy="30258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5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4647795" y="6723311"/>
                  <a:ext cx="355510" cy="712232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36" name="Group 35"/>
              <p:cNvGrpSpPr/>
              <p:nvPr/>
            </p:nvGrpSpPr>
            <p:grpSpPr>
              <a:xfrm>
                <a:off x="2151470" y="3327265"/>
                <a:ext cx="479392" cy="712232"/>
                <a:chOff x="4610325" y="6858496"/>
                <a:chExt cx="479392" cy="712232"/>
              </a:xfrm>
            </p:grpSpPr>
            <p:pic>
              <p:nvPicPr>
                <p:cNvPr id="39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4610325" y="6858496"/>
                  <a:ext cx="355510" cy="712232"/>
                </a:xfrm>
                <a:prstGeom prst="rect">
                  <a:avLst/>
                </a:prstGeom>
                <a:noFill/>
              </p:spPr>
            </p:pic>
            <p:sp>
              <p:nvSpPr>
                <p:cNvPr id="40" name="Isosceles Triangle 39"/>
                <p:cNvSpPr/>
                <p:nvPr/>
              </p:nvSpPr>
              <p:spPr bwMode="auto">
                <a:xfrm>
                  <a:off x="4883537" y="7331187"/>
                  <a:ext cx="206180" cy="17774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1" name="Rectangle 40"/>
                <p:cNvSpPr/>
                <p:nvPr/>
              </p:nvSpPr>
              <p:spPr bwMode="auto">
                <a:xfrm>
                  <a:off x="4883537" y="7416936"/>
                  <a:ext cx="206180" cy="2634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2" name="Rectangle 41"/>
                <p:cNvSpPr/>
                <p:nvPr/>
              </p:nvSpPr>
              <p:spPr bwMode="auto">
                <a:xfrm rot="16200000">
                  <a:off x="4928054" y="7465866"/>
                  <a:ext cx="117146" cy="263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3" name="Isosceles Triangle 42"/>
                <p:cNvSpPr/>
                <p:nvPr/>
              </p:nvSpPr>
              <p:spPr bwMode="auto">
                <a:xfrm>
                  <a:off x="4942260" y="7396152"/>
                  <a:ext cx="88734" cy="76495"/>
                </a:xfrm>
                <a:prstGeom prst="triangle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37" name="Rectangle 36"/>
              <p:cNvSpPr/>
              <p:nvPr/>
            </p:nvSpPr>
            <p:spPr bwMode="auto">
              <a:xfrm>
                <a:off x="382773" y="1563005"/>
                <a:ext cx="3955312" cy="4529471"/>
              </a:xfrm>
              <a:prstGeom prst="rect">
                <a:avLst/>
              </a:prstGeom>
              <a:noFill/>
              <a:ln w="15875">
                <a:solidFill>
                  <a:schemeClr val="accent4"/>
                </a:solidFill>
                <a:prstDash val="sys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376" tIns="45689" rIns="91376" bIns="45689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923788" y="1562987"/>
                <a:ext cx="2732454" cy="339071"/>
              </a:xfrm>
              <a:prstGeom prst="rect">
                <a:avLst/>
              </a:prstGeom>
            </p:spPr>
            <p:txBody>
              <a:bodyPr wrap="none" lIns="91380" tIns="45691" rIns="91380" bIns="45691">
                <a:spAutoFit/>
              </a:bodyPr>
              <a:lstStyle/>
              <a:p>
                <a:pPr algn="ctr" defTabSz="91352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Contoso.com Active Directory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3916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7494"/>
            <a:ext cx="9144000" cy="1399032"/>
          </a:xfrm>
        </p:spPr>
        <p:txBody>
          <a:bodyPr>
            <a:norm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ctive Directory Cloud Only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107504" y="2213078"/>
            <a:ext cx="8920152" cy="3592186"/>
            <a:chOff x="382773" y="1562987"/>
            <a:chExt cx="11737043" cy="4726561"/>
          </a:xfrm>
        </p:grpSpPr>
        <p:grpSp>
          <p:nvGrpSpPr>
            <p:cNvPr id="5" name="Group 4"/>
            <p:cNvGrpSpPr/>
            <p:nvPr/>
          </p:nvGrpSpPr>
          <p:grpSpPr>
            <a:xfrm>
              <a:off x="9068451" y="2206895"/>
              <a:ext cx="2925095" cy="2814704"/>
              <a:chOff x="8948001" y="3799610"/>
              <a:chExt cx="2341419" cy="2341419"/>
            </a:xfrm>
          </p:grpSpPr>
          <p:sp>
            <p:nvSpPr>
              <p:cNvPr id="149" name="Rectangle 148"/>
              <p:cNvSpPr/>
              <p:nvPr/>
            </p:nvSpPr>
            <p:spPr bwMode="auto">
              <a:xfrm>
                <a:off x="8948001" y="3799610"/>
                <a:ext cx="2341419" cy="2341419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The Virtual Network</a:t>
                </a:r>
              </a:p>
              <a:p>
                <a:pPr algn="ctr" defTabSz="91352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in Windows Azure</a:t>
                </a:r>
              </a:p>
            </p:txBody>
          </p:sp>
          <p:sp>
            <p:nvSpPr>
              <p:cNvPr id="150" name="Freeform 40"/>
              <p:cNvSpPr>
                <a:spLocks noEditPoints="1"/>
              </p:cNvSpPr>
              <p:nvPr/>
            </p:nvSpPr>
            <p:spPr bwMode="black">
              <a:xfrm>
                <a:off x="10702813" y="4218422"/>
                <a:ext cx="547891" cy="527396"/>
              </a:xfrm>
              <a:custGeom>
                <a:avLst/>
                <a:gdLst>
                  <a:gd name="T0" fmla="*/ 461 w 891"/>
                  <a:gd name="T1" fmla="*/ 470 h 859"/>
                  <a:gd name="T2" fmla="*/ 793 w 891"/>
                  <a:gd name="T3" fmla="*/ 489 h 859"/>
                  <a:gd name="T4" fmla="*/ 707 w 891"/>
                  <a:gd name="T5" fmla="*/ 787 h 859"/>
                  <a:gd name="T6" fmla="*/ 375 w 891"/>
                  <a:gd name="T7" fmla="*/ 767 h 859"/>
                  <a:gd name="T8" fmla="*/ 461 w 891"/>
                  <a:gd name="T9" fmla="*/ 470 h 859"/>
                  <a:gd name="T10" fmla="*/ 430 w 891"/>
                  <a:gd name="T11" fmla="*/ 387 h 859"/>
                  <a:gd name="T12" fmla="*/ 517 w 891"/>
                  <a:gd name="T13" fmla="*/ 90 h 859"/>
                  <a:gd name="T14" fmla="*/ 184 w 891"/>
                  <a:gd name="T15" fmla="*/ 71 h 859"/>
                  <a:gd name="T16" fmla="*/ 98 w 891"/>
                  <a:gd name="T17" fmla="*/ 368 h 859"/>
                  <a:gd name="T18" fmla="*/ 430 w 891"/>
                  <a:gd name="T19" fmla="*/ 387 h 859"/>
                  <a:gd name="T20" fmla="*/ 83 w 891"/>
                  <a:gd name="T21" fmla="*/ 421 h 859"/>
                  <a:gd name="T22" fmla="*/ 0 w 891"/>
                  <a:gd name="T23" fmla="*/ 703 h 859"/>
                  <a:gd name="T24" fmla="*/ 0 w 891"/>
                  <a:gd name="T25" fmla="*/ 706 h 859"/>
                  <a:gd name="T26" fmla="*/ 7 w 891"/>
                  <a:gd name="T27" fmla="*/ 712 h 859"/>
                  <a:gd name="T28" fmla="*/ 9 w 891"/>
                  <a:gd name="T29" fmla="*/ 712 h 859"/>
                  <a:gd name="T30" fmla="*/ 329 w 891"/>
                  <a:gd name="T31" fmla="*/ 737 h 859"/>
                  <a:gd name="T32" fmla="*/ 415 w 891"/>
                  <a:gd name="T33" fmla="*/ 440 h 859"/>
                  <a:gd name="T34" fmla="*/ 83 w 891"/>
                  <a:gd name="T35" fmla="*/ 421 h 859"/>
                  <a:gd name="T36" fmla="*/ 883 w 891"/>
                  <a:gd name="T37" fmla="*/ 147 h 859"/>
                  <a:gd name="T38" fmla="*/ 882 w 891"/>
                  <a:gd name="T39" fmla="*/ 147 h 859"/>
                  <a:gd name="T40" fmla="*/ 561 w 891"/>
                  <a:gd name="T41" fmla="*/ 122 h 859"/>
                  <a:gd name="T42" fmla="*/ 475 w 891"/>
                  <a:gd name="T43" fmla="*/ 419 h 859"/>
                  <a:gd name="T44" fmla="*/ 808 w 891"/>
                  <a:gd name="T45" fmla="*/ 438 h 859"/>
                  <a:gd name="T46" fmla="*/ 891 w 891"/>
                  <a:gd name="T47" fmla="*/ 154 h 859"/>
                  <a:gd name="T48" fmla="*/ 891 w 891"/>
                  <a:gd name="T49" fmla="*/ 153 h 859"/>
                  <a:gd name="T50" fmla="*/ 883 w 891"/>
                  <a:gd name="T51" fmla="*/ 147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91" h="859">
                    <a:moveTo>
                      <a:pt x="461" y="470"/>
                    </a:moveTo>
                    <a:cubicBezTo>
                      <a:pt x="535" y="522"/>
                      <a:pt x="620" y="562"/>
                      <a:pt x="793" y="489"/>
                    </a:cubicBezTo>
                    <a:cubicBezTo>
                      <a:pt x="793" y="489"/>
                      <a:pt x="793" y="489"/>
                      <a:pt x="707" y="787"/>
                    </a:cubicBezTo>
                    <a:cubicBezTo>
                      <a:pt x="534" y="859"/>
                      <a:pt x="449" y="818"/>
                      <a:pt x="375" y="767"/>
                    </a:cubicBezTo>
                    <a:cubicBezTo>
                      <a:pt x="375" y="767"/>
                      <a:pt x="375" y="767"/>
                      <a:pt x="461" y="470"/>
                    </a:cubicBezTo>
                    <a:close/>
                    <a:moveTo>
                      <a:pt x="430" y="387"/>
                    </a:moveTo>
                    <a:cubicBezTo>
                      <a:pt x="517" y="90"/>
                      <a:pt x="517" y="90"/>
                      <a:pt x="517" y="90"/>
                    </a:cubicBezTo>
                    <a:cubicBezTo>
                      <a:pt x="441" y="41"/>
                      <a:pt x="357" y="0"/>
                      <a:pt x="184" y="71"/>
                    </a:cubicBezTo>
                    <a:cubicBezTo>
                      <a:pt x="98" y="368"/>
                      <a:pt x="98" y="368"/>
                      <a:pt x="98" y="368"/>
                    </a:cubicBezTo>
                    <a:cubicBezTo>
                      <a:pt x="271" y="297"/>
                      <a:pt x="354" y="337"/>
                      <a:pt x="430" y="387"/>
                    </a:cubicBezTo>
                    <a:close/>
                    <a:moveTo>
                      <a:pt x="83" y="421"/>
                    </a:moveTo>
                    <a:cubicBezTo>
                      <a:pt x="0" y="703"/>
                      <a:pt x="0" y="703"/>
                      <a:pt x="0" y="703"/>
                    </a:cubicBezTo>
                    <a:cubicBezTo>
                      <a:pt x="0" y="704"/>
                      <a:pt x="0" y="704"/>
                      <a:pt x="0" y="706"/>
                    </a:cubicBezTo>
                    <a:cubicBezTo>
                      <a:pt x="0" y="709"/>
                      <a:pt x="3" y="712"/>
                      <a:pt x="7" y="712"/>
                    </a:cubicBezTo>
                    <a:cubicBezTo>
                      <a:pt x="9" y="712"/>
                      <a:pt x="9" y="712"/>
                      <a:pt x="9" y="712"/>
                    </a:cubicBezTo>
                    <a:cubicBezTo>
                      <a:pt x="175" y="646"/>
                      <a:pt x="256" y="687"/>
                      <a:pt x="329" y="737"/>
                    </a:cubicBezTo>
                    <a:cubicBezTo>
                      <a:pt x="415" y="440"/>
                      <a:pt x="415" y="440"/>
                      <a:pt x="415" y="440"/>
                    </a:cubicBezTo>
                    <a:cubicBezTo>
                      <a:pt x="339" y="389"/>
                      <a:pt x="256" y="348"/>
                      <a:pt x="83" y="421"/>
                    </a:cubicBezTo>
                    <a:close/>
                    <a:moveTo>
                      <a:pt x="883" y="147"/>
                    </a:moveTo>
                    <a:cubicBezTo>
                      <a:pt x="882" y="147"/>
                      <a:pt x="882" y="147"/>
                      <a:pt x="882" y="147"/>
                    </a:cubicBezTo>
                    <a:cubicBezTo>
                      <a:pt x="716" y="212"/>
                      <a:pt x="634" y="172"/>
                      <a:pt x="561" y="122"/>
                    </a:cubicBezTo>
                    <a:cubicBezTo>
                      <a:pt x="475" y="419"/>
                      <a:pt x="475" y="419"/>
                      <a:pt x="475" y="419"/>
                    </a:cubicBezTo>
                    <a:cubicBezTo>
                      <a:pt x="551" y="468"/>
                      <a:pt x="634" y="509"/>
                      <a:pt x="808" y="438"/>
                    </a:cubicBezTo>
                    <a:cubicBezTo>
                      <a:pt x="891" y="154"/>
                      <a:pt x="891" y="154"/>
                      <a:pt x="891" y="154"/>
                    </a:cubicBezTo>
                    <a:cubicBezTo>
                      <a:pt x="891" y="153"/>
                      <a:pt x="891" y="153"/>
                      <a:pt x="891" y="153"/>
                    </a:cubicBezTo>
                    <a:cubicBezTo>
                      <a:pt x="891" y="150"/>
                      <a:pt x="888" y="147"/>
                      <a:pt x="883" y="1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6" name="Freeform 128"/>
            <p:cNvSpPr>
              <a:spLocks noChangeAspect="1"/>
            </p:cNvSpPr>
            <p:nvPr/>
          </p:nvSpPr>
          <p:spPr bwMode="black">
            <a:xfrm>
              <a:off x="4574210" y="2479597"/>
              <a:ext cx="3735578" cy="2063587"/>
            </a:xfrm>
            <a:custGeom>
              <a:avLst/>
              <a:gdLst>
                <a:gd name="T0" fmla="*/ 396 w 509"/>
                <a:gd name="T1" fmla="*/ 281 h 281"/>
                <a:gd name="T2" fmla="*/ 57 w 509"/>
                <a:gd name="T3" fmla="*/ 281 h 281"/>
                <a:gd name="T4" fmla="*/ 0 w 509"/>
                <a:gd name="T5" fmla="*/ 223 h 281"/>
                <a:gd name="T6" fmla="*/ 43 w 509"/>
                <a:gd name="T7" fmla="*/ 168 h 281"/>
                <a:gd name="T8" fmla="*/ 110 w 509"/>
                <a:gd name="T9" fmla="*/ 116 h 281"/>
                <a:gd name="T10" fmla="*/ 232 w 509"/>
                <a:gd name="T11" fmla="*/ 0 h 281"/>
                <a:gd name="T12" fmla="*/ 343 w 509"/>
                <a:gd name="T13" fmla="*/ 70 h 281"/>
                <a:gd name="T14" fmla="*/ 396 w 509"/>
                <a:gd name="T15" fmla="*/ 56 h 281"/>
                <a:gd name="T16" fmla="*/ 509 w 509"/>
                <a:gd name="T17" fmla="*/ 169 h 281"/>
                <a:gd name="T18" fmla="*/ 396 w 509"/>
                <a:gd name="T19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9" h="281">
                  <a:moveTo>
                    <a:pt x="396" y="281"/>
                  </a:moveTo>
                  <a:cubicBezTo>
                    <a:pt x="57" y="281"/>
                    <a:pt x="57" y="281"/>
                    <a:pt x="57" y="281"/>
                  </a:cubicBezTo>
                  <a:cubicBezTo>
                    <a:pt x="26" y="281"/>
                    <a:pt x="0" y="255"/>
                    <a:pt x="0" y="223"/>
                  </a:cubicBezTo>
                  <a:cubicBezTo>
                    <a:pt x="0" y="196"/>
                    <a:pt x="18" y="174"/>
                    <a:pt x="43" y="168"/>
                  </a:cubicBezTo>
                  <a:cubicBezTo>
                    <a:pt x="55" y="140"/>
                    <a:pt x="80" y="120"/>
                    <a:pt x="110" y="116"/>
                  </a:cubicBezTo>
                  <a:cubicBezTo>
                    <a:pt x="113" y="52"/>
                    <a:pt x="167" y="0"/>
                    <a:pt x="232" y="0"/>
                  </a:cubicBezTo>
                  <a:cubicBezTo>
                    <a:pt x="280" y="0"/>
                    <a:pt x="323" y="28"/>
                    <a:pt x="343" y="70"/>
                  </a:cubicBezTo>
                  <a:cubicBezTo>
                    <a:pt x="359" y="61"/>
                    <a:pt x="377" y="56"/>
                    <a:pt x="396" y="56"/>
                  </a:cubicBezTo>
                  <a:cubicBezTo>
                    <a:pt x="458" y="56"/>
                    <a:pt x="509" y="107"/>
                    <a:pt x="509" y="169"/>
                  </a:cubicBezTo>
                  <a:cubicBezTo>
                    <a:pt x="509" y="230"/>
                    <a:pt x="458" y="281"/>
                    <a:pt x="396" y="28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380" tIns="45691" rIns="91380" bIns="45691" numCol="1" anchor="t" anchorCtr="0" compatLnSpc="1">
              <a:prstTxWarp prst="textNoShape">
                <a:avLst/>
              </a:prstTxWarp>
            </a:bodyPr>
            <a:lstStyle/>
            <a:p>
              <a:pPr defTabSz="913793"/>
              <a:endParaRPr lang="en-US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9022413" y="2845971"/>
              <a:ext cx="996595" cy="1075525"/>
              <a:chOff x="9036946" y="4345563"/>
              <a:chExt cx="996595" cy="1075524"/>
            </a:xfrm>
          </p:grpSpPr>
          <p:grpSp>
            <p:nvGrpSpPr>
              <p:cNvPr id="145" name="Group 144"/>
              <p:cNvGrpSpPr/>
              <p:nvPr/>
            </p:nvGrpSpPr>
            <p:grpSpPr>
              <a:xfrm>
                <a:off x="9036946" y="4345563"/>
                <a:ext cx="996595" cy="1075524"/>
                <a:chOff x="1778319" y="4442923"/>
                <a:chExt cx="996595" cy="1075524"/>
              </a:xfrm>
            </p:grpSpPr>
            <p:pic>
              <p:nvPicPr>
                <p:cNvPr id="147" name="Picture 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100000" contrast="100000"/>
                </a:blip>
                <a:srcRect/>
                <a:stretch>
                  <a:fillRect/>
                </a:stretch>
              </p:blipFill>
              <p:spPr bwMode="auto">
                <a:xfrm>
                  <a:off x="1809804" y="4442923"/>
                  <a:ext cx="965110" cy="8842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148" name="Rectangle 147"/>
                <p:cNvSpPr/>
                <p:nvPr/>
              </p:nvSpPr>
              <p:spPr>
                <a:xfrm>
                  <a:off x="1778319" y="5178274"/>
                  <a:ext cx="959524" cy="34017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Gateway</a:t>
                  </a:r>
                </a:p>
              </p:txBody>
            </p:sp>
          </p:grpSp>
          <p:sp>
            <p:nvSpPr>
              <p:cNvPr id="146" name="Freeform 92"/>
              <p:cNvSpPr>
                <a:spLocks noEditPoints="1"/>
              </p:cNvSpPr>
              <p:nvPr/>
            </p:nvSpPr>
            <p:spPr bwMode="black">
              <a:xfrm>
                <a:off x="9842233" y="4787711"/>
                <a:ext cx="191307" cy="260655"/>
              </a:xfrm>
              <a:custGeom>
                <a:avLst/>
                <a:gdLst>
                  <a:gd name="T0" fmla="*/ 15 w 48"/>
                  <a:gd name="T1" fmla="*/ 11 h 66"/>
                  <a:gd name="T2" fmla="*/ 24 w 48"/>
                  <a:gd name="T3" fmla="*/ 9 h 66"/>
                  <a:gd name="T4" fmla="*/ 33 w 48"/>
                  <a:gd name="T5" fmla="*/ 11 h 66"/>
                  <a:gd name="T6" fmla="*/ 35 w 48"/>
                  <a:gd name="T7" fmla="*/ 23 h 66"/>
                  <a:gd name="T8" fmla="*/ 35 w 48"/>
                  <a:gd name="T9" fmla="*/ 25 h 66"/>
                  <a:gd name="T10" fmla="*/ 35 w 48"/>
                  <a:gd name="T11" fmla="*/ 27 h 66"/>
                  <a:gd name="T12" fmla="*/ 14 w 48"/>
                  <a:gd name="T13" fmla="*/ 27 h 66"/>
                  <a:gd name="T14" fmla="*/ 14 w 48"/>
                  <a:gd name="T15" fmla="*/ 25 h 66"/>
                  <a:gd name="T16" fmla="*/ 14 w 48"/>
                  <a:gd name="T17" fmla="*/ 22 h 66"/>
                  <a:gd name="T18" fmla="*/ 15 w 48"/>
                  <a:gd name="T19" fmla="*/ 11 h 66"/>
                  <a:gd name="T20" fmla="*/ 44 w 48"/>
                  <a:gd name="T21" fmla="*/ 28 h 66"/>
                  <a:gd name="T22" fmla="*/ 44 w 48"/>
                  <a:gd name="T23" fmla="*/ 25 h 66"/>
                  <a:gd name="T24" fmla="*/ 44 w 48"/>
                  <a:gd name="T25" fmla="*/ 23 h 66"/>
                  <a:gd name="T26" fmla="*/ 39 w 48"/>
                  <a:gd name="T27" fmla="*/ 5 h 66"/>
                  <a:gd name="T28" fmla="*/ 24 w 48"/>
                  <a:gd name="T29" fmla="*/ 0 h 66"/>
                  <a:gd name="T30" fmla="*/ 9 w 48"/>
                  <a:gd name="T31" fmla="*/ 5 h 66"/>
                  <a:gd name="T32" fmla="*/ 5 w 48"/>
                  <a:gd name="T33" fmla="*/ 22 h 66"/>
                  <a:gd name="T34" fmla="*/ 5 w 48"/>
                  <a:gd name="T35" fmla="*/ 25 h 66"/>
                  <a:gd name="T36" fmla="*/ 5 w 48"/>
                  <a:gd name="T37" fmla="*/ 27 h 66"/>
                  <a:gd name="T38" fmla="*/ 0 w 48"/>
                  <a:gd name="T39" fmla="*/ 32 h 66"/>
                  <a:gd name="T40" fmla="*/ 0 w 48"/>
                  <a:gd name="T41" fmla="*/ 62 h 66"/>
                  <a:gd name="T42" fmla="*/ 5 w 48"/>
                  <a:gd name="T43" fmla="*/ 66 h 66"/>
                  <a:gd name="T44" fmla="*/ 43 w 48"/>
                  <a:gd name="T45" fmla="*/ 66 h 66"/>
                  <a:gd name="T46" fmla="*/ 48 w 48"/>
                  <a:gd name="T47" fmla="*/ 62 h 66"/>
                  <a:gd name="T48" fmla="*/ 48 w 48"/>
                  <a:gd name="T49" fmla="*/ 32 h 66"/>
                  <a:gd name="T50" fmla="*/ 44 w 48"/>
                  <a:gd name="T51" fmla="*/ 2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66">
                    <a:moveTo>
                      <a:pt x="15" y="11"/>
                    </a:moveTo>
                    <a:cubicBezTo>
                      <a:pt x="17" y="10"/>
                      <a:pt x="20" y="9"/>
                      <a:pt x="24" y="9"/>
                    </a:cubicBezTo>
                    <a:cubicBezTo>
                      <a:pt x="29" y="9"/>
                      <a:pt x="32" y="10"/>
                      <a:pt x="33" y="11"/>
                    </a:cubicBezTo>
                    <a:cubicBezTo>
                      <a:pt x="35" y="13"/>
                      <a:pt x="35" y="18"/>
                      <a:pt x="35" y="23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5" y="26"/>
                      <a:pt x="35" y="27"/>
                      <a:pt x="35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4" y="26"/>
                      <a:pt x="14" y="25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17"/>
                      <a:pt x="14" y="13"/>
                      <a:pt x="15" y="11"/>
                    </a:cubicBezTo>
                    <a:moveTo>
                      <a:pt x="44" y="28"/>
                    </a:moveTo>
                    <a:cubicBezTo>
                      <a:pt x="44" y="27"/>
                      <a:pt x="44" y="26"/>
                      <a:pt x="44" y="25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16"/>
                      <a:pt x="44" y="10"/>
                      <a:pt x="39" y="5"/>
                    </a:cubicBezTo>
                    <a:cubicBezTo>
                      <a:pt x="36" y="2"/>
                      <a:pt x="31" y="0"/>
                      <a:pt x="24" y="0"/>
                    </a:cubicBezTo>
                    <a:cubicBezTo>
                      <a:pt x="17" y="0"/>
                      <a:pt x="12" y="2"/>
                      <a:pt x="9" y="5"/>
                    </a:cubicBezTo>
                    <a:cubicBezTo>
                      <a:pt x="5" y="9"/>
                      <a:pt x="5" y="16"/>
                      <a:pt x="5" y="22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5" y="26"/>
                      <a:pt x="5" y="27"/>
                      <a:pt x="5" y="27"/>
                    </a:cubicBezTo>
                    <a:cubicBezTo>
                      <a:pt x="2" y="28"/>
                      <a:pt x="0" y="30"/>
                      <a:pt x="0" y="3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4"/>
                      <a:pt x="2" y="66"/>
                      <a:pt x="5" y="66"/>
                    </a:cubicBezTo>
                    <a:cubicBezTo>
                      <a:pt x="43" y="66"/>
                      <a:pt x="43" y="66"/>
                      <a:pt x="43" y="66"/>
                    </a:cubicBezTo>
                    <a:cubicBezTo>
                      <a:pt x="46" y="66"/>
                      <a:pt x="48" y="64"/>
                      <a:pt x="48" y="6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0"/>
                      <a:pt x="46" y="28"/>
                      <a:pt x="44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6797774" y="4656636"/>
              <a:ext cx="430451" cy="1081861"/>
              <a:chOff x="4409404" y="1676776"/>
              <a:chExt cx="510347" cy="1282665"/>
            </a:xfrm>
          </p:grpSpPr>
          <p:sp>
            <p:nvSpPr>
              <p:cNvPr id="142" name="Freeform 27"/>
              <p:cNvSpPr>
                <a:spLocks noChangeAspect="1" noEditPoints="1"/>
              </p:cNvSpPr>
              <p:nvPr/>
            </p:nvSpPr>
            <p:spPr bwMode="black">
              <a:xfrm>
                <a:off x="4409404" y="1676776"/>
                <a:ext cx="510347" cy="328752"/>
              </a:xfrm>
              <a:custGeom>
                <a:avLst/>
                <a:gdLst/>
                <a:ahLst/>
                <a:cxnLst>
                  <a:cxn ang="0">
                    <a:pos x="340" y="182"/>
                  </a:cxn>
                  <a:cxn ang="0">
                    <a:pos x="340" y="16"/>
                  </a:cxn>
                  <a:cxn ang="0">
                    <a:pos x="324" y="0"/>
                  </a:cxn>
                  <a:cxn ang="0">
                    <a:pos x="47" y="0"/>
                  </a:cxn>
                  <a:cxn ang="0">
                    <a:pos x="31" y="16"/>
                  </a:cxn>
                  <a:cxn ang="0">
                    <a:pos x="31" y="182"/>
                  </a:cxn>
                  <a:cxn ang="0">
                    <a:pos x="0" y="220"/>
                  </a:cxn>
                  <a:cxn ang="0">
                    <a:pos x="19" y="240"/>
                  </a:cxn>
                  <a:cxn ang="0">
                    <a:pos x="352" y="240"/>
                  </a:cxn>
                  <a:cxn ang="0">
                    <a:pos x="371" y="220"/>
                  </a:cxn>
                  <a:cxn ang="0">
                    <a:pos x="340" y="182"/>
                  </a:cxn>
                  <a:cxn ang="0">
                    <a:pos x="211" y="225"/>
                  </a:cxn>
                  <a:cxn ang="0">
                    <a:pos x="154" y="225"/>
                  </a:cxn>
                  <a:cxn ang="0">
                    <a:pos x="148" y="222"/>
                  </a:cxn>
                  <a:cxn ang="0">
                    <a:pos x="155" y="209"/>
                  </a:cxn>
                  <a:cxn ang="0">
                    <a:pos x="160" y="207"/>
                  </a:cxn>
                  <a:cxn ang="0">
                    <a:pos x="205" y="207"/>
                  </a:cxn>
                  <a:cxn ang="0">
                    <a:pos x="210" y="209"/>
                  </a:cxn>
                  <a:cxn ang="0">
                    <a:pos x="217" y="222"/>
                  </a:cxn>
                  <a:cxn ang="0">
                    <a:pos x="211" y="225"/>
                  </a:cxn>
                  <a:cxn ang="0">
                    <a:pos x="315" y="178"/>
                  </a:cxn>
                  <a:cxn ang="0">
                    <a:pos x="56" y="178"/>
                  </a:cxn>
                  <a:cxn ang="0">
                    <a:pos x="56" y="33"/>
                  </a:cxn>
                  <a:cxn ang="0">
                    <a:pos x="63" y="25"/>
                  </a:cxn>
                  <a:cxn ang="0">
                    <a:pos x="308" y="25"/>
                  </a:cxn>
                  <a:cxn ang="0">
                    <a:pos x="315" y="33"/>
                  </a:cxn>
                  <a:cxn ang="0">
                    <a:pos x="315" y="178"/>
                  </a:cxn>
                </a:cxnLst>
                <a:rect l="0" t="0" r="r" b="b"/>
                <a:pathLst>
                  <a:path w="371" h="240">
                    <a:moveTo>
                      <a:pt x="340" y="182"/>
                    </a:moveTo>
                    <a:cubicBezTo>
                      <a:pt x="340" y="16"/>
                      <a:pt x="340" y="16"/>
                      <a:pt x="340" y="16"/>
                    </a:cubicBezTo>
                    <a:cubicBezTo>
                      <a:pt x="340" y="8"/>
                      <a:pt x="333" y="0"/>
                      <a:pt x="3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8" y="0"/>
                      <a:pt x="31" y="8"/>
                      <a:pt x="31" y="16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1"/>
                      <a:pt x="9" y="240"/>
                      <a:pt x="19" y="240"/>
                    </a:cubicBezTo>
                    <a:cubicBezTo>
                      <a:pt x="352" y="240"/>
                      <a:pt x="352" y="240"/>
                      <a:pt x="352" y="240"/>
                    </a:cubicBezTo>
                    <a:cubicBezTo>
                      <a:pt x="362" y="240"/>
                      <a:pt x="371" y="231"/>
                      <a:pt x="371" y="220"/>
                    </a:cubicBezTo>
                    <a:lnTo>
                      <a:pt x="340" y="182"/>
                    </a:lnTo>
                    <a:close/>
                    <a:moveTo>
                      <a:pt x="211" y="225"/>
                    </a:moveTo>
                    <a:cubicBezTo>
                      <a:pt x="154" y="225"/>
                      <a:pt x="154" y="225"/>
                      <a:pt x="154" y="225"/>
                    </a:cubicBezTo>
                    <a:cubicBezTo>
                      <a:pt x="151" y="225"/>
                      <a:pt x="148" y="223"/>
                      <a:pt x="148" y="222"/>
                    </a:cubicBezTo>
                    <a:cubicBezTo>
                      <a:pt x="155" y="209"/>
                      <a:pt x="155" y="209"/>
                      <a:pt x="155" y="209"/>
                    </a:cubicBezTo>
                    <a:cubicBezTo>
                      <a:pt x="155" y="208"/>
                      <a:pt x="157" y="207"/>
                      <a:pt x="160" y="207"/>
                    </a:cubicBezTo>
                    <a:cubicBezTo>
                      <a:pt x="205" y="207"/>
                      <a:pt x="205" y="207"/>
                      <a:pt x="205" y="207"/>
                    </a:cubicBezTo>
                    <a:cubicBezTo>
                      <a:pt x="208" y="207"/>
                      <a:pt x="210" y="208"/>
                      <a:pt x="210" y="209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7" y="223"/>
                      <a:pt x="214" y="225"/>
                      <a:pt x="211" y="225"/>
                    </a:cubicBezTo>
                    <a:close/>
                    <a:moveTo>
                      <a:pt x="315" y="178"/>
                    </a:moveTo>
                    <a:cubicBezTo>
                      <a:pt x="56" y="178"/>
                      <a:pt x="56" y="178"/>
                      <a:pt x="56" y="17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28"/>
                      <a:pt x="59" y="25"/>
                      <a:pt x="63" y="25"/>
                    </a:cubicBezTo>
                    <a:cubicBezTo>
                      <a:pt x="308" y="25"/>
                      <a:pt x="308" y="25"/>
                      <a:pt x="308" y="25"/>
                    </a:cubicBezTo>
                    <a:cubicBezTo>
                      <a:pt x="312" y="25"/>
                      <a:pt x="315" y="28"/>
                      <a:pt x="315" y="33"/>
                    </a:cubicBezTo>
                    <a:lnTo>
                      <a:pt x="315" y="178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43" name="Freeform 27"/>
              <p:cNvSpPr>
                <a:spLocks noChangeAspect="1" noEditPoints="1"/>
              </p:cNvSpPr>
              <p:nvPr/>
            </p:nvSpPr>
            <p:spPr bwMode="black">
              <a:xfrm>
                <a:off x="4409404" y="2153733"/>
                <a:ext cx="510347" cy="328752"/>
              </a:xfrm>
              <a:custGeom>
                <a:avLst/>
                <a:gdLst/>
                <a:ahLst/>
                <a:cxnLst>
                  <a:cxn ang="0">
                    <a:pos x="340" y="182"/>
                  </a:cxn>
                  <a:cxn ang="0">
                    <a:pos x="340" y="16"/>
                  </a:cxn>
                  <a:cxn ang="0">
                    <a:pos x="324" y="0"/>
                  </a:cxn>
                  <a:cxn ang="0">
                    <a:pos x="47" y="0"/>
                  </a:cxn>
                  <a:cxn ang="0">
                    <a:pos x="31" y="16"/>
                  </a:cxn>
                  <a:cxn ang="0">
                    <a:pos x="31" y="182"/>
                  </a:cxn>
                  <a:cxn ang="0">
                    <a:pos x="0" y="220"/>
                  </a:cxn>
                  <a:cxn ang="0">
                    <a:pos x="19" y="240"/>
                  </a:cxn>
                  <a:cxn ang="0">
                    <a:pos x="352" y="240"/>
                  </a:cxn>
                  <a:cxn ang="0">
                    <a:pos x="371" y="220"/>
                  </a:cxn>
                  <a:cxn ang="0">
                    <a:pos x="340" y="182"/>
                  </a:cxn>
                  <a:cxn ang="0">
                    <a:pos x="211" y="225"/>
                  </a:cxn>
                  <a:cxn ang="0">
                    <a:pos x="154" y="225"/>
                  </a:cxn>
                  <a:cxn ang="0">
                    <a:pos x="148" y="222"/>
                  </a:cxn>
                  <a:cxn ang="0">
                    <a:pos x="155" y="209"/>
                  </a:cxn>
                  <a:cxn ang="0">
                    <a:pos x="160" y="207"/>
                  </a:cxn>
                  <a:cxn ang="0">
                    <a:pos x="205" y="207"/>
                  </a:cxn>
                  <a:cxn ang="0">
                    <a:pos x="210" y="209"/>
                  </a:cxn>
                  <a:cxn ang="0">
                    <a:pos x="217" y="222"/>
                  </a:cxn>
                  <a:cxn ang="0">
                    <a:pos x="211" y="225"/>
                  </a:cxn>
                  <a:cxn ang="0">
                    <a:pos x="315" y="178"/>
                  </a:cxn>
                  <a:cxn ang="0">
                    <a:pos x="56" y="178"/>
                  </a:cxn>
                  <a:cxn ang="0">
                    <a:pos x="56" y="33"/>
                  </a:cxn>
                  <a:cxn ang="0">
                    <a:pos x="63" y="25"/>
                  </a:cxn>
                  <a:cxn ang="0">
                    <a:pos x="308" y="25"/>
                  </a:cxn>
                  <a:cxn ang="0">
                    <a:pos x="315" y="33"/>
                  </a:cxn>
                  <a:cxn ang="0">
                    <a:pos x="315" y="178"/>
                  </a:cxn>
                </a:cxnLst>
                <a:rect l="0" t="0" r="r" b="b"/>
                <a:pathLst>
                  <a:path w="371" h="240">
                    <a:moveTo>
                      <a:pt x="340" y="182"/>
                    </a:moveTo>
                    <a:cubicBezTo>
                      <a:pt x="340" y="16"/>
                      <a:pt x="340" y="16"/>
                      <a:pt x="340" y="16"/>
                    </a:cubicBezTo>
                    <a:cubicBezTo>
                      <a:pt x="340" y="8"/>
                      <a:pt x="333" y="0"/>
                      <a:pt x="3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8" y="0"/>
                      <a:pt x="31" y="8"/>
                      <a:pt x="31" y="16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1"/>
                      <a:pt x="9" y="240"/>
                      <a:pt x="19" y="240"/>
                    </a:cubicBezTo>
                    <a:cubicBezTo>
                      <a:pt x="352" y="240"/>
                      <a:pt x="352" y="240"/>
                      <a:pt x="352" y="240"/>
                    </a:cubicBezTo>
                    <a:cubicBezTo>
                      <a:pt x="362" y="240"/>
                      <a:pt x="371" y="231"/>
                      <a:pt x="371" y="220"/>
                    </a:cubicBezTo>
                    <a:lnTo>
                      <a:pt x="340" y="182"/>
                    </a:lnTo>
                    <a:close/>
                    <a:moveTo>
                      <a:pt x="211" y="225"/>
                    </a:moveTo>
                    <a:cubicBezTo>
                      <a:pt x="154" y="225"/>
                      <a:pt x="154" y="225"/>
                      <a:pt x="154" y="225"/>
                    </a:cubicBezTo>
                    <a:cubicBezTo>
                      <a:pt x="151" y="225"/>
                      <a:pt x="148" y="223"/>
                      <a:pt x="148" y="222"/>
                    </a:cubicBezTo>
                    <a:cubicBezTo>
                      <a:pt x="155" y="209"/>
                      <a:pt x="155" y="209"/>
                      <a:pt x="155" y="209"/>
                    </a:cubicBezTo>
                    <a:cubicBezTo>
                      <a:pt x="155" y="208"/>
                      <a:pt x="157" y="207"/>
                      <a:pt x="160" y="207"/>
                    </a:cubicBezTo>
                    <a:cubicBezTo>
                      <a:pt x="205" y="207"/>
                      <a:pt x="205" y="207"/>
                      <a:pt x="205" y="207"/>
                    </a:cubicBezTo>
                    <a:cubicBezTo>
                      <a:pt x="208" y="207"/>
                      <a:pt x="210" y="208"/>
                      <a:pt x="210" y="209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7" y="223"/>
                      <a:pt x="214" y="225"/>
                      <a:pt x="211" y="225"/>
                    </a:cubicBezTo>
                    <a:close/>
                    <a:moveTo>
                      <a:pt x="315" y="178"/>
                    </a:moveTo>
                    <a:cubicBezTo>
                      <a:pt x="56" y="178"/>
                      <a:pt x="56" y="178"/>
                      <a:pt x="56" y="17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28"/>
                      <a:pt x="59" y="25"/>
                      <a:pt x="63" y="25"/>
                    </a:cubicBezTo>
                    <a:cubicBezTo>
                      <a:pt x="308" y="25"/>
                      <a:pt x="308" y="25"/>
                      <a:pt x="308" y="25"/>
                    </a:cubicBezTo>
                    <a:cubicBezTo>
                      <a:pt x="312" y="25"/>
                      <a:pt x="315" y="28"/>
                      <a:pt x="315" y="33"/>
                    </a:cubicBezTo>
                    <a:lnTo>
                      <a:pt x="315" y="178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44" name="Freeform 27"/>
              <p:cNvSpPr>
                <a:spLocks noChangeAspect="1" noEditPoints="1"/>
              </p:cNvSpPr>
              <p:nvPr/>
            </p:nvSpPr>
            <p:spPr bwMode="black">
              <a:xfrm>
                <a:off x="4409404" y="2630689"/>
                <a:ext cx="510347" cy="328752"/>
              </a:xfrm>
              <a:custGeom>
                <a:avLst/>
                <a:gdLst/>
                <a:ahLst/>
                <a:cxnLst>
                  <a:cxn ang="0">
                    <a:pos x="340" y="182"/>
                  </a:cxn>
                  <a:cxn ang="0">
                    <a:pos x="340" y="16"/>
                  </a:cxn>
                  <a:cxn ang="0">
                    <a:pos x="324" y="0"/>
                  </a:cxn>
                  <a:cxn ang="0">
                    <a:pos x="47" y="0"/>
                  </a:cxn>
                  <a:cxn ang="0">
                    <a:pos x="31" y="16"/>
                  </a:cxn>
                  <a:cxn ang="0">
                    <a:pos x="31" y="182"/>
                  </a:cxn>
                  <a:cxn ang="0">
                    <a:pos x="0" y="220"/>
                  </a:cxn>
                  <a:cxn ang="0">
                    <a:pos x="19" y="240"/>
                  </a:cxn>
                  <a:cxn ang="0">
                    <a:pos x="352" y="240"/>
                  </a:cxn>
                  <a:cxn ang="0">
                    <a:pos x="371" y="220"/>
                  </a:cxn>
                  <a:cxn ang="0">
                    <a:pos x="340" y="182"/>
                  </a:cxn>
                  <a:cxn ang="0">
                    <a:pos x="211" y="225"/>
                  </a:cxn>
                  <a:cxn ang="0">
                    <a:pos x="154" y="225"/>
                  </a:cxn>
                  <a:cxn ang="0">
                    <a:pos x="148" y="222"/>
                  </a:cxn>
                  <a:cxn ang="0">
                    <a:pos x="155" y="209"/>
                  </a:cxn>
                  <a:cxn ang="0">
                    <a:pos x="160" y="207"/>
                  </a:cxn>
                  <a:cxn ang="0">
                    <a:pos x="205" y="207"/>
                  </a:cxn>
                  <a:cxn ang="0">
                    <a:pos x="210" y="209"/>
                  </a:cxn>
                  <a:cxn ang="0">
                    <a:pos x="217" y="222"/>
                  </a:cxn>
                  <a:cxn ang="0">
                    <a:pos x="211" y="225"/>
                  </a:cxn>
                  <a:cxn ang="0">
                    <a:pos x="315" y="178"/>
                  </a:cxn>
                  <a:cxn ang="0">
                    <a:pos x="56" y="178"/>
                  </a:cxn>
                  <a:cxn ang="0">
                    <a:pos x="56" y="33"/>
                  </a:cxn>
                  <a:cxn ang="0">
                    <a:pos x="63" y="25"/>
                  </a:cxn>
                  <a:cxn ang="0">
                    <a:pos x="308" y="25"/>
                  </a:cxn>
                  <a:cxn ang="0">
                    <a:pos x="315" y="33"/>
                  </a:cxn>
                  <a:cxn ang="0">
                    <a:pos x="315" y="178"/>
                  </a:cxn>
                </a:cxnLst>
                <a:rect l="0" t="0" r="r" b="b"/>
                <a:pathLst>
                  <a:path w="371" h="240">
                    <a:moveTo>
                      <a:pt x="340" y="182"/>
                    </a:moveTo>
                    <a:cubicBezTo>
                      <a:pt x="340" y="16"/>
                      <a:pt x="340" y="16"/>
                      <a:pt x="340" y="16"/>
                    </a:cubicBezTo>
                    <a:cubicBezTo>
                      <a:pt x="340" y="8"/>
                      <a:pt x="333" y="0"/>
                      <a:pt x="3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8" y="0"/>
                      <a:pt x="31" y="8"/>
                      <a:pt x="31" y="16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1"/>
                      <a:pt x="9" y="240"/>
                      <a:pt x="19" y="240"/>
                    </a:cubicBezTo>
                    <a:cubicBezTo>
                      <a:pt x="352" y="240"/>
                      <a:pt x="352" y="240"/>
                      <a:pt x="352" y="240"/>
                    </a:cubicBezTo>
                    <a:cubicBezTo>
                      <a:pt x="362" y="240"/>
                      <a:pt x="371" y="231"/>
                      <a:pt x="371" y="220"/>
                    </a:cubicBezTo>
                    <a:lnTo>
                      <a:pt x="340" y="182"/>
                    </a:lnTo>
                    <a:close/>
                    <a:moveTo>
                      <a:pt x="211" y="225"/>
                    </a:moveTo>
                    <a:cubicBezTo>
                      <a:pt x="154" y="225"/>
                      <a:pt x="154" y="225"/>
                      <a:pt x="154" y="225"/>
                    </a:cubicBezTo>
                    <a:cubicBezTo>
                      <a:pt x="151" y="225"/>
                      <a:pt x="148" y="223"/>
                      <a:pt x="148" y="222"/>
                    </a:cubicBezTo>
                    <a:cubicBezTo>
                      <a:pt x="155" y="209"/>
                      <a:pt x="155" y="209"/>
                      <a:pt x="155" y="209"/>
                    </a:cubicBezTo>
                    <a:cubicBezTo>
                      <a:pt x="155" y="208"/>
                      <a:pt x="157" y="207"/>
                      <a:pt x="160" y="207"/>
                    </a:cubicBezTo>
                    <a:cubicBezTo>
                      <a:pt x="205" y="207"/>
                      <a:pt x="205" y="207"/>
                      <a:pt x="205" y="207"/>
                    </a:cubicBezTo>
                    <a:cubicBezTo>
                      <a:pt x="208" y="207"/>
                      <a:pt x="210" y="208"/>
                      <a:pt x="210" y="209"/>
                    </a:cubicBezTo>
                    <a:cubicBezTo>
                      <a:pt x="217" y="222"/>
                      <a:pt x="217" y="222"/>
                      <a:pt x="217" y="222"/>
                    </a:cubicBezTo>
                    <a:cubicBezTo>
                      <a:pt x="217" y="223"/>
                      <a:pt x="214" y="225"/>
                      <a:pt x="211" y="225"/>
                    </a:cubicBezTo>
                    <a:close/>
                    <a:moveTo>
                      <a:pt x="315" y="178"/>
                    </a:moveTo>
                    <a:cubicBezTo>
                      <a:pt x="56" y="178"/>
                      <a:pt x="56" y="178"/>
                      <a:pt x="56" y="178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28"/>
                      <a:pt x="59" y="25"/>
                      <a:pt x="63" y="25"/>
                    </a:cubicBezTo>
                    <a:cubicBezTo>
                      <a:pt x="308" y="25"/>
                      <a:pt x="308" y="25"/>
                      <a:pt x="308" y="25"/>
                    </a:cubicBezTo>
                    <a:cubicBezTo>
                      <a:pt x="312" y="25"/>
                      <a:pt x="315" y="28"/>
                      <a:pt x="315" y="33"/>
                    </a:cubicBezTo>
                    <a:lnTo>
                      <a:pt x="315" y="178"/>
                    </a:lnTo>
                    <a:close/>
                  </a:path>
                </a:pathLst>
              </a:custGeom>
              <a:solidFill>
                <a:schemeClr val="accent2"/>
              </a:solidFill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7260572" y="4775528"/>
              <a:ext cx="988291" cy="824345"/>
              <a:chOff x="8395840" y="5569527"/>
              <a:chExt cx="988291" cy="824345"/>
            </a:xfrm>
          </p:grpSpPr>
          <p:cxnSp>
            <p:nvCxnSpPr>
              <p:cNvPr id="139" name="Straight Arrow Connector 138"/>
              <p:cNvCxnSpPr/>
              <p:nvPr/>
            </p:nvCxnSpPr>
            <p:spPr>
              <a:xfrm>
                <a:off x="8395840" y="5569527"/>
                <a:ext cx="988291" cy="123160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headEnd type="none" w="med" len="sm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Arrow Connector 139"/>
              <p:cNvCxnSpPr/>
              <p:nvPr/>
            </p:nvCxnSpPr>
            <p:spPr>
              <a:xfrm flipV="1">
                <a:off x="8395840" y="5692688"/>
                <a:ext cx="988291" cy="298896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headEnd type="none" w="med" len="sm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Arrow Connector 140"/>
              <p:cNvCxnSpPr/>
              <p:nvPr/>
            </p:nvCxnSpPr>
            <p:spPr>
              <a:xfrm flipV="1">
                <a:off x="8395840" y="5692688"/>
                <a:ext cx="988291" cy="701184"/>
              </a:xfrm>
              <a:prstGeom prst="straightConnector1">
                <a:avLst/>
              </a:prstGeom>
              <a:ln w="19050">
                <a:solidFill>
                  <a:schemeClr val="tx2"/>
                </a:solidFill>
                <a:headEnd type="none" w="med" len="sm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/>
            <p:cNvGrpSpPr/>
            <p:nvPr/>
          </p:nvGrpSpPr>
          <p:grpSpPr>
            <a:xfrm>
              <a:off x="9939339" y="4093984"/>
              <a:ext cx="576145" cy="712232"/>
              <a:chOff x="9944860" y="5187045"/>
              <a:chExt cx="576144" cy="712232"/>
            </a:xfrm>
          </p:grpSpPr>
          <p:sp>
            <p:nvSpPr>
              <p:cNvPr id="137" name="Freeform 6"/>
              <p:cNvSpPr>
                <a:spLocks noChangeAspect="1" noEditPoints="1"/>
              </p:cNvSpPr>
              <p:nvPr/>
            </p:nvSpPr>
            <p:spPr bwMode="black">
              <a:xfrm>
                <a:off x="10192459" y="5526355"/>
                <a:ext cx="328545" cy="332665"/>
              </a:xfrm>
              <a:custGeom>
                <a:avLst/>
                <a:gdLst>
                  <a:gd name="T0" fmla="*/ 84 w 84"/>
                  <a:gd name="T1" fmla="*/ 43 h 85"/>
                  <a:gd name="T2" fmla="*/ 0 w 84"/>
                  <a:gd name="T3" fmla="*/ 43 h 85"/>
                  <a:gd name="T4" fmla="*/ 76 w 84"/>
                  <a:gd name="T5" fmla="*/ 27 h 85"/>
                  <a:gd name="T6" fmla="*/ 65 w 84"/>
                  <a:gd name="T7" fmla="*/ 40 h 85"/>
                  <a:gd name="T8" fmla="*/ 76 w 84"/>
                  <a:gd name="T9" fmla="*/ 27 h 85"/>
                  <a:gd name="T10" fmla="*/ 45 w 84"/>
                  <a:gd name="T11" fmla="*/ 27 h 85"/>
                  <a:gd name="T12" fmla="*/ 62 w 84"/>
                  <a:gd name="T13" fmla="*/ 40 h 85"/>
                  <a:gd name="T14" fmla="*/ 40 w 84"/>
                  <a:gd name="T15" fmla="*/ 27 h 85"/>
                  <a:gd name="T16" fmla="*/ 21 w 84"/>
                  <a:gd name="T17" fmla="*/ 40 h 85"/>
                  <a:gd name="T18" fmla="*/ 40 w 84"/>
                  <a:gd name="T19" fmla="*/ 27 h 85"/>
                  <a:gd name="T20" fmla="*/ 8 w 84"/>
                  <a:gd name="T21" fmla="*/ 27 h 85"/>
                  <a:gd name="T22" fmla="*/ 19 w 84"/>
                  <a:gd name="T23" fmla="*/ 40 h 85"/>
                  <a:gd name="T24" fmla="*/ 10 w 84"/>
                  <a:gd name="T25" fmla="*/ 21 h 85"/>
                  <a:gd name="T26" fmla="*/ 30 w 84"/>
                  <a:gd name="T27" fmla="*/ 6 h 85"/>
                  <a:gd name="T28" fmla="*/ 25 w 84"/>
                  <a:gd name="T29" fmla="*/ 21 h 85"/>
                  <a:gd name="T30" fmla="*/ 40 w 84"/>
                  <a:gd name="T31" fmla="*/ 4 h 85"/>
                  <a:gd name="T32" fmla="*/ 45 w 84"/>
                  <a:gd name="T33" fmla="*/ 21 h 85"/>
                  <a:gd name="T34" fmla="*/ 45 w 84"/>
                  <a:gd name="T35" fmla="*/ 5 h 85"/>
                  <a:gd name="T36" fmla="*/ 62 w 84"/>
                  <a:gd name="T37" fmla="*/ 21 h 85"/>
                  <a:gd name="T38" fmla="*/ 54 w 84"/>
                  <a:gd name="T39" fmla="*/ 6 h 85"/>
                  <a:gd name="T40" fmla="*/ 80 w 84"/>
                  <a:gd name="T41" fmla="*/ 45 h 85"/>
                  <a:gd name="T42" fmla="*/ 63 w 84"/>
                  <a:gd name="T43" fmla="*/ 59 h 85"/>
                  <a:gd name="T44" fmla="*/ 80 w 84"/>
                  <a:gd name="T45" fmla="*/ 45 h 85"/>
                  <a:gd name="T46" fmla="*/ 45 w 84"/>
                  <a:gd name="T47" fmla="*/ 45 h 85"/>
                  <a:gd name="T48" fmla="*/ 61 w 84"/>
                  <a:gd name="T49" fmla="*/ 59 h 85"/>
                  <a:gd name="T50" fmla="*/ 40 w 84"/>
                  <a:gd name="T51" fmla="*/ 45 h 85"/>
                  <a:gd name="T52" fmla="*/ 23 w 84"/>
                  <a:gd name="T53" fmla="*/ 59 h 85"/>
                  <a:gd name="T54" fmla="*/ 40 w 84"/>
                  <a:gd name="T55" fmla="*/ 45 h 85"/>
                  <a:gd name="T56" fmla="*/ 4 w 84"/>
                  <a:gd name="T57" fmla="*/ 45 h 85"/>
                  <a:gd name="T58" fmla="*/ 21 w 84"/>
                  <a:gd name="T59" fmla="*/ 59 h 85"/>
                  <a:gd name="T60" fmla="*/ 45 w 84"/>
                  <a:gd name="T61" fmla="*/ 64 h 85"/>
                  <a:gd name="T62" fmla="*/ 59 w 84"/>
                  <a:gd name="T63" fmla="*/ 64 h 85"/>
                  <a:gd name="T64" fmla="*/ 40 w 84"/>
                  <a:gd name="T65" fmla="*/ 81 h 85"/>
                  <a:gd name="T66" fmla="*/ 25 w 84"/>
                  <a:gd name="T67" fmla="*/ 64 h 85"/>
                  <a:gd name="T68" fmla="*/ 73 w 84"/>
                  <a:gd name="T69" fmla="*/ 64 h 85"/>
                  <a:gd name="T70" fmla="*/ 54 w 84"/>
                  <a:gd name="T71" fmla="*/ 79 h 85"/>
                  <a:gd name="T72" fmla="*/ 22 w 84"/>
                  <a:gd name="T73" fmla="*/ 64 h 85"/>
                  <a:gd name="T74" fmla="*/ 30 w 84"/>
                  <a:gd name="T75" fmla="*/ 7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4" h="85">
                    <a:moveTo>
                      <a:pt x="42" y="0"/>
                    </a:moveTo>
                    <a:cubicBezTo>
                      <a:pt x="65" y="0"/>
                      <a:pt x="84" y="19"/>
                      <a:pt x="84" y="43"/>
                    </a:cubicBezTo>
                    <a:cubicBezTo>
                      <a:pt x="84" y="66"/>
                      <a:pt x="65" y="85"/>
                      <a:pt x="42" y="85"/>
                    </a:cubicBezTo>
                    <a:cubicBezTo>
                      <a:pt x="19" y="85"/>
                      <a:pt x="0" y="66"/>
                      <a:pt x="0" y="43"/>
                    </a:cubicBezTo>
                    <a:cubicBezTo>
                      <a:pt x="0" y="19"/>
                      <a:pt x="19" y="0"/>
                      <a:pt x="42" y="0"/>
                    </a:cubicBezTo>
                    <a:close/>
                    <a:moveTo>
                      <a:pt x="76" y="27"/>
                    </a:moveTo>
                    <a:cubicBezTo>
                      <a:pt x="63" y="27"/>
                      <a:pt x="63" y="27"/>
                      <a:pt x="63" y="27"/>
                    </a:cubicBezTo>
                    <a:cubicBezTo>
                      <a:pt x="64" y="31"/>
                      <a:pt x="65" y="35"/>
                      <a:pt x="65" y="40"/>
                    </a:cubicBezTo>
                    <a:cubicBezTo>
                      <a:pt x="80" y="40"/>
                      <a:pt x="80" y="40"/>
                      <a:pt x="80" y="40"/>
                    </a:cubicBezTo>
                    <a:cubicBezTo>
                      <a:pt x="79" y="35"/>
                      <a:pt x="78" y="31"/>
                      <a:pt x="76" y="27"/>
                    </a:cubicBezTo>
                    <a:close/>
                    <a:moveTo>
                      <a:pt x="61" y="27"/>
                    </a:move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2" y="35"/>
                      <a:pt x="62" y="31"/>
                      <a:pt x="61" y="27"/>
                    </a:cubicBezTo>
                    <a:close/>
                    <a:moveTo>
                      <a:pt x="40" y="27"/>
                    </a:moveTo>
                    <a:cubicBezTo>
                      <a:pt x="23" y="27"/>
                      <a:pt x="23" y="27"/>
                      <a:pt x="23" y="27"/>
                    </a:cubicBezTo>
                    <a:cubicBezTo>
                      <a:pt x="22" y="31"/>
                      <a:pt x="22" y="35"/>
                      <a:pt x="21" y="40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0" y="27"/>
                      <a:pt x="40" y="27"/>
                      <a:pt x="40" y="27"/>
                    </a:cubicBezTo>
                    <a:close/>
                    <a:moveTo>
                      <a:pt x="21" y="27"/>
                    </a:moveTo>
                    <a:cubicBezTo>
                      <a:pt x="8" y="27"/>
                      <a:pt x="8" y="27"/>
                      <a:pt x="8" y="27"/>
                    </a:cubicBezTo>
                    <a:cubicBezTo>
                      <a:pt x="6" y="31"/>
                      <a:pt x="5" y="35"/>
                      <a:pt x="4" y="40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35"/>
                      <a:pt x="20" y="31"/>
                      <a:pt x="21" y="27"/>
                    </a:cubicBezTo>
                    <a:close/>
                    <a:moveTo>
                      <a:pt x="10" y="21"/>
                    </a:moveTo>
                    <a:cubicBezTo>
                      <a:pt x="22" y="21"/>
                      <a:pt x="22" y="21"/>
                      <a:pt x="22" y="21"/>
                    </a:cubicBezTo>
                    <a:cubicBezTo>
                      <a:pt x="24" y="15"/>
                      <a:pt x="27" y="10"/>
                      <a:pt x="30" y="6"/>
                    </a:cubicBezTo>
                    <a:cubicBezTo>
                      <a:pt x="22" y="9"/>
                      <a:pt x="15" y="14"/>
                      <a:pt x="10" y="21"/>
                    </a:cubicBezTo>
                    <a:close/>
                    <a:moveTo>
                      <a:pt x="25" y="21"/>
                    </a:move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33" y="6"/>
                      <a:pt x="28" y="12"/>
                      <a:pt x="25" y="21"/>
                    </a:cubicBezTo>
                    <a:close/>
                    <a:moveTo>
                      <a:pt x="45" y="21"/>
                    </a:move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12"/>
                      <a:pt x="51" y="6"/>
                      <a:pt x="45" y="5"/>
                    </a:cubicBezTo>
                    <a:cubicBezTo>
                      <a:pt x="45" y="21"/>
                      <a:pt x="45" y="21"/>
                      <a:pt x="45" y="21"/>
                    </a:cubicBezTo>
                    <a:close/>
                    <a:moveTo>
                      <a:pt x="62" y="21"/>
                    </a:moveTo>
                    <a:cubicBezTo>
                      <a:pt x="73" y="21"/>
                      <a:pt x="73" y="21"/>
                      <a:pt x="73" y="21"/>
                    </a:cubicBezTo>
                    <a:cubicBezTo>
                      <a:pt x="69" y="14"/>
                      <a:pt x="62" y="9"/>
                      <a:pt x="54" y="6"/>
                    </a:cubicBezTo>
                    <a:cubicBezTo>
                      <a:pt x="57" y="10"/>
                      <a:pt x="60" y="15"/>
                      <a:pt x="62" y="21"/>
                    </a:cubicBezTo>
                    <a:close/>
                    <a:moveTo>
                      <a:pt x="80" y="45"/>
                    </a:moveTo>
                    <a:cubicBezTo>
                      <a:pt x="65" y="45"/>
                      <a:pt x="65" y="45"/>
                      <a:pt x="65" y="45"/>
                    </a:cubicBezTo>
                    <a:cubicBezTo>
                      <a:pt x="65" y="50"/>
                      <a:pt x="64" y="54"/>
                      <a:pt x="63" y="59"/>
                    </a:cubicBezTo>
                    <a:cubicBezTo>
                      <a:pt x="76" y="59"/>
                      <a:pt x="76" y="59"/>
                      <a:pt x="76" y="59"/>
                    </a:cubicBezTo>
                    <a:cubicBezTo>
                      <a:pt x="78" y="54"/>
                      <a:pt x="79" y="50"/>
                      <a:pt x="80" y="45"/>
                    </a:cubicBezTo>
                    <a:close/>
                    <a:moveTo>
                      <a:pt x="62" y="45"/>
                    </a:moveTo>
                    <a:cubicBezTo>
                      <a:pt x="45" y="45"/>
                      <a:pt x="45" y="45"/>
                      <a:pt x="45" y="45"/>
                    </a:cubicBezTo>
                    <a:cubicBezTo>
                      <a:pt x="45" y="59"/>
                      <a:pt x="45" y="59"/>
                      <a:pt x="45" y="59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2" y="54"/>
                      <a:pt x="62" y="50"/>
                      <a:pt x="62" y="45"/>
                    </a:cubicBezTo>
                    <a:close/>
                    <a:moveTo>
                      <a:pt x="40" y="45"/>
                    </a:moveTo>
                    <a:cubicBezTo>
                      <a:pt x="21" y="45"/>
                      <a:pt x="21" y="45"/>
                      <a:pt x="21" y="45"/>
                    </a:cubicBezTo>
                    <a:cubicBezTo>
                      <a:pt x="22" y="50"/>
                      <a:pt x="22" y="54"/>
                      <a:pt x="23" y="59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45"/>
                      <a:pt x="40" y="45"/>
                      <a:pt x="40" y="45"/>
                    </a:cubicBezTo>
                    <a:close/>
                    <a:moveTo>
                      <a:pt x="19" y="45"/>
                    </a:moveTo>
                    <a:cubicBezTo>
                      <a:pt x="4" y="45"/>
                      <a:pt x="4" y="45"/>
                      <a:pt x="4" y="45"/>
                    </a:cubicBezTo>
                    <a:cubicBezTo>
                      <a:pt x="5" y="50"/>
                      <a:pt x="6" y="54"/>
                      <a:pt x="8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0" y="54"/>
                      <a:pt x="19" y="50"/>
                      <a:pt x="19" y="45"/>
                    </a:cubicBezTo>
                    <a:close/>
                    <a:moveTo>
                      <a:pt x="45" y="64"/>
                    </a:moveTo>
                    <a:cubicBezTo>
                      <a:pt x="45" y="81"/>
                      <a:pt x="45" y="81"/>
                      <a:pt x="45" y="81"/>
                    </a:cubicBezTo>
                    <a:cubicBezTo>
                      <a:pt x="51" y="79"/>
                      <a:pt x="56" y="73"/>
                      <a:pt x="59" y="64"/>
                    </a:cubicBezTo>
                    <a:cubicBezTo>
                      <a:pt x="45" y="64"/>
                      <a:pt x="45" y="64"/>
                      <a:pt x="45" y="64"/>
                    </a:cubicBezTo>
                    <a:close/>
                    <a:moveTo>
                      <a:pt x="40" y="81"/>
                    </a:moveTo>
                    <a:cubicBezTo>
                      <a:pt x="40" y="64"/>
                      <a:pt x="40" y="64"/>
                      <a:pt x="40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28" y="73"/>
                      <a:pt x="33" y="79"/>
                      <a:pt x="40" y="81"/>
                    </a:cubicBezTo>
                    <a:close/>
                    <a:moveTo>
                      <a:pt x="73" y="64"/>
                    </a:moveTo>
                    <a:cubicBezTo>
                      <a:pt x="62" y="64"/>
                      <a:pt x="62" y="64"/>
                      <a:pt x="62" y="64"/>
                    </a:cubicBezTo>
                    <a:cubicBezTo>
                      <a:pt x="60" y="70"/>
                      <a:pt x="57" y="75"/>
                      <a:pt x="54" y="79"/>
                    </a:cubicBezTo>
                    <a:cubicBezTo>
                      <a:pt x="62" y="76"/>
                      <a:pt x="69" y="71"/>
                      <a:pt x="73" y="64"/>
                    </a:cubicBezTo>
                    <a:close/>
                    <a:moveTo>
                      <a:pt x="22" y="64"/>
                    </a:moveTo>
                    <a:cubicBezTo>
                      <a:pt x="11" y="64"/>
                      <a:pt x="11" y="64"/>
                      <a:pt x="11" y="64"/>
                    </a:cubicBezTo>
                    <a:cubicBezTo>
                      <a:pt x="15" y="71"/>
                      <a:pt x="22" y="76"/>
                      <a:pt x="30" y="79"/>
                    </a:cubicBezTo>
                    <a:cubicBezTo>
                      <a:pt x="27" y="75"/>
                      <a:pt x="24" y="70"/>
                      <a:pt x="22" y="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793"/>
                <a:endParaRPr lang="en-US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pic>
            <p:nvPicPr>
              <p:cNvPr id="138" name="Picture 6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100000"/>
              </a:blip>
              <a:srcRect l="24157" r="25929"/>
              <a:stretch/>
            </p:blipFill>
            <p:spPr bwMode="auto">
              <a:xfrm>
                <a:off x="9944860" y="5187045"/>
                <a:ext cx="355510" cy="712232"/>
              </a:xfrm>
              <a:prstGeom prst="rect">
                <a:avLst/>
              </a:prstGeom>
              <a:noFill/>
            </p:spPr>
          </p:pic>
        </p:grpSp>
        <p:pic>
          <p:nvPicPr>
            <p:cNvPr id="11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100000" contrast="100000"/>
            </a:blip>
            <a:srcRect l="9422" t="9591" r="8195" b="13220"/>
            <a:stretch/>
          </p:blipFill>
          <p:spPr bwMode="auto">
            <a:xfrm>
              <a:off x="9652451" y="4109379"/>
              <a:ext cx="733110" cy="629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12" name="Group 11"/>
            <p:cNvGrpSpPr/>
            <p:nvPr/>
          </p:nvGrpSpPr>
          <p:grpSpPr>
            <a:xfrm>
              <a:off x="11160877" y="4068160"/>
              <a:ext cx="604285" cy="712232"/>
              <a:chOff x="4647795" y="6723311"/>
              <a:chExt cx="604285" cy="712232"/>
            </a:xfrm>
          </p:grpSpPr>
          <p:pic>
            <p:nvPicPr>
              <p:cNvPr id="135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4EB1E4"/>
                  </a:clrFrom>
                  <a:clrTo>
                    <a:srgbClr val="4EB1E4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18743" y="7037593"/>
                <a:ext cx="333337" cy="30258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36" name="Picture 6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100000"/>
              </a:blip>
              <a:srcRect l="24157" r="25929"/>
              <a:stretch/>
            </p:blipFill>
            <p:spPr bwMode="auto">
              <a:xfrm>
                <a:off x="4647795" y="6723311"/>
                <a:ext cx="355510" cy="712232"/>
              </a:xfrm>
              <a:prstGeom prst="rect">
                <a:avLst/>
              </a:prstGeom>
              <a:noFill/>
            </p:spPr>
          </p:pic>
        </p:grpSp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lum bright="100000" contrast="100000"/>
            </a:blip>
            <a:srcRect l="9422" t="9591" r="8195" b="13220"/>
            <a:stretch/>
          </p:blipFill>
          <p:spPr bwMode="auto">
            <a:xfrm>
              <a:off x="10894133" y="4075407"/>
              <a:ext cx="733110" cy="629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4" name="Rectangle 13"/>
            <p:cNvSpPr/>
            <p:nvPr/>
          </p:nvSpPr>
          <p:spPr>
            <a:xfrm>
              <a:off x="10742637" y="4727223"/>
              <a:ext cx="1205299" cy="340097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SQL Server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9574541" y="4737103"/>
              <a:ext cx="1085074" cy="340097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IIS Servers</a:t>
              </a:r>
            </a:p>
          </p:txBody>
        </p:sp>
        <p:grpSp>
          <p:nvGrpSpPr>
            <p:cNvPr id="16" name="Group 15"/>
            <p:cNvGrpSpPr/>
            <p:nvPr/>
          </p:nvGrpSpPr>
          <p:grpSpPr bwMode="black">
            <a:xfrm>
              <a:off x="8239084" y="4581584"/>
              <a:ext cx="830326" cy="640637"/>
              <a:chOff x="7010400" y="2133600"/>
              <a:chExt cx="1379538" cy="1065213"/>
            </a:xfrm>
            <a:solidFill>
              <a:schemeClr val="tx2"/>
            </a:solidFill>
          </p:grpSpPr>
          <p:sp>
            <p:nvSpPr>
              <p:cNvPr id="88" name="Freeform 161"/>
              <p:cNvSpPr>
                <a:spLocks/>
              </p:cNvSpPr>
              <p:nvPr/>
            </p:nvSpPr>
            <p:spPr bwMode="black">
              <a:xfrm>
                <a:off x="7189788" y="2416175"/>
                <a:ext cx="57150" cy="49213"/>
              </a:xfrm>
              <a:custGeom>
                <a:avLst/>
                <a:gdLst>
                  <a:gd name="T0" fmla="*/ 36 w 36"/>
                  <a:gd name="T1" fmla="*/ 15 h 31"/>
                  <a:gd name="T2" fmla="*/ 28 w 36"/>
                  <a:gd name="T3" fmla="*/ 0 h 31"/>
                  <a:gd name="T4" fmla="*/ 0 w 36"/>
                  <a:gd name="T5" fmla="*/ 16 h 31"/>
                  <a:gd name="T6" fmla="*/ 8 w 36"/>
                  <a:gd name="T7" fmla="*/ 31 h 31"/>
                  <a:gd name="T8" fmla="*/ 36 w 3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1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1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9" name="Freeform 162"/>
              <p:cNvSpPr>
                <a:spLocks/>
              </p:cNvSpPr>
              <p:nvPr/>
            </p:nvSpPr>
            <p:spPr bwMode="black">
              <a:xfrm>
                <a:off x="7539038" y="2225675"/>
                <a:ext cx="57150" cy="47625"/>
              </a:xfrm>
              <a:custGeom>
                <a:avLst/>
                <a:gdLst>
                  <a:gd name="T0" fmla="*/ 36 w 36"/>
                  <a:gd name="T1" fmla="*/ 14 h 30"/>
                  <a:gd name="T2" fmla="*/ 28 w 36"/>
                  <a:gd name="T3" fmla="*/ 0 h 30"/>
                  <a:gd name="T4" fmla="*/ 0 w 36"/>
                  <a:gd name="T5" fmla="*/ 15 h 30"/>
                  <a:gd name="T6" fmla="*/ 8 w 36"/>
                  <a:gd name="T7" fmla="*/ 30 h 30"/>
                  <a:gd name="T8" fmla="*/ 36 w 36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4"/>
                    </a:moveTo>
                    <a:lnTo>
                      <a:pt x="28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6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0" name="Freeform 163"/>
              <p:cNvSpPr>
                <a:spLocks/>
              </p:cNvSpPr>
              <p:nvPr/>
            </p:nvSpPr>
            <p:spPr bwMode="black">
              <a:xfrm>
                <a:off x="7329488" y="2339975"/>
                <a:ext cx="57150" cy="47625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6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1" name="Freeform 164"/>
              <p:cNvSpPr>
                <a:spLocks/>
              </p:cNvSpPr>
              <p:nvPr/>
            </p:nvSpPr>
            <p:spPr bwMode="black">
              <a:xfrm>
                <a:off x="7399338" y="2301875"/>
                <a:ext cx="57150" cy="47625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5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2" name="Freeform 165"/>
              <p:cNvSpPr>
                <a:spLocks/>
              </p:cNvSpPr>
              <p:nvPr/>
            </p:nvSpPr>
            <p:spPr bwMode="black">
              <a:xfrm>
                <a:off x="7469188" y="2263775"/>
                <a:ext cx="58738" cy="47625"/>
              </a:xfrm>
              <a:custGeom>
                <a:avLst/>
                <a:gdLst>
                  <a:gd name="T0" fmla="*/ 37 w 37"/>
                  <a:gd name="T1" fmla="*/ 14 h 30"/>
                  <a:gd name="T2" fmla="*/ 29 w 37"/>
                  <a:gd name="T3" fmla="*/ 0 h 30"/>
                  <a:gd name="T4" fmla="*/ 0 w 37"/>
                  <a:gd name="T5" fmla="*/ 15 h 30"/>
                  <a:gd name="T6" fmla="*/ 8 w 37"/>
                  <a:gd name="T7" fmla="*/ 30 h 30"/>
                  <a:gd name="T8" fmla="*/ 37 w 37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37" y="14"/>
                    </a:moveTo>
                    <a:lnTo>
                      <a:pt x="29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3" name="Freeform 166"/>
              <p:cNvSpPr>
                <a:spLocks/>
              </p:cNvSpPr>
              <p:nvPr/>
            </p:nvSpPr>
            <p:spPr bwMode="black">
              <a:xfrm>
                <a:off x="7011988" y="2725738"/>
                <a:ext cx="31750" cy="52388"/>
              </a:xfrm>
              <a:custGeom>
                <a:avLst/>
                <a:gdLst>
                  <a:gd name="T0" fmla="*/ 40 w 41"/>
                  <a:gd name="T1" fmla="*/ 60 h 71"/>
                  <a:gd name="T2" fmla="*/ 36 w 41"/>
                  <a:gd name="T3" fmla="*/ 7 h 71"/>
                  <a:gd name="T4" fmla="*/ 35 w 41"/>
                  <a:gd name="T5" fmla="*/ 0 h 71"/>
                  <a:gd name="T6" fmla="*/ 0 w 41"/>
                  <a:gd name="T7" fmla="*/ 2 h 71"/>
                  <a:gd name="T8" fmla="*/ 0 w 41"/>
                  <a:gd name="T9" fmla="*/ 10 h 71"/>
                  <a:gd name="T10" fmla="*/ 5 w 41"/>
                  <a:gd name="T11" fmla="*/ 64 h 71"/>
                  <a:gd name="T12" fmla="*/ 6 w 41"/>
                  <a:gd name="T13" fmla="*/ 71 h 71"/>
                  <a:gd name="T14" fmla="*/ 41 w 41"/>
                  <a:gd name="T15" fmla="*/ 67 h 71"/>
                  <a:gd name="T16" fmla="*/ 40 w 41"/>
                  <a:gd name="T17" fmla="*/ 6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71">
                    <a:moveTo>
                      <a:pt x="40" y="60"/>
                    </a:moveTo>
                    <a:cubicBezTo>
                      <a:pt x="38" y="45"/>
                      <a:pt x="37" y="27"/>
                      <a:pt x="36" y="7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29"/>
                      <a:pt x="3" y="48"/>
                      <a:pt x="5" y="64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41" y="67"/>
                      <a:pt x="41" y="67"/>
                      <a:pt x="41" y="67"/>
                    </a:cubicBezTo>
                    <a:lnTo>
                      <a:pt x="40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4" name="Freeform 167"/>
              <p:cNvSpPr>
                <a:spLocks/>
              </p:cNvSpPr>
              <p:nvPr/>
            </p:nvSpPr>
            <p:spPr bwMode="black">
              <a:xfrm>
                <a:off x="7116763" y="2451100"/>
                <a:ext cx="57150" cy="31750"/>
              </a:xfrm>
              <a:custGeom>
                <a:avLst/>
                <a:gdLst>
                  <a:gd name="T0" fmla="*/ 51 w 77"/>
                  <a:gd name="T1" fmla="*/ 44 h 44"/>
                  <a:gd name="T2" fmla="*/ 70 w 77"/>
                  <a:gd name="T3" fmla="*/ 41 h 44"/>
                  <a:gd name="T4" fmla="*/ 77 w 77"/>
                  <a:gd name="T5" fmla="*/ 39 h 44"/>
                  <a:gd name="T6" fmla="*/ 67 w 77"/>
                  <a:gd name="T7" fmla="*/ 5 h 44"/>
                  <a:gd name="T8" fmla="*/ 60 w 77"/>
                  <a:gd name="T9" fmla="*/ 8 h 44"/>
                  <a:gd name="T10" fmla="*/ 18 w 77"/>
                  <a:gd name="T11" fmla="*/ 2 h 44"/>
                  <a:gd name="T12" fmla="*/ 11 w 77"/>
                  <a:gd name="T13" fmla="*/ 0 h 44"/>
                  <a:gd name="T14" fmla="*/ 0 w 77"/>
                  <a:gd name="T15" fmla="*/ 33 h 44"/>
                  <a:gd name="T16" fmla="*/ 7 w 77"/>
                  <a:gd name="T17" fmla="*/ 36 h 44"/>
                  <a:gd name="T18" fmla="*/ 51 w 77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44">
                    <a:moveTo>
                      <a:pt x="51" y="44"/>
                    </a:moveTo>
                    <a:cubicBezTo>
                      <a:pt x="58" y="44"/>
                      <a:pt x="64" y="43"/>
                      <a:pt x="70" y="41"/>
                    </a:cubicBezTo>
                    <a:cubicBezTo>
                      <a:pt x="77" y="39"/>
                      <a:pt x="77" y="39"/>
                      <a:pt x="77" y="39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51" y="10"/>
                      <a:pt x="38" y="8"/>
                      <a:pt x="18" y="2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25" y="41"/>
                      <a:pt x="39" y="44"/>
                      <a:pt x="51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5" name="Freeform 168"/>
              <p:cNvSpPr>
                <a:spLocks/>
              </p:cNvSpPr>
              <p:nvPr/>
            </p:nvSpPr>
            <p:spPr bwMode="black">
              <a:xfrm>
                <a:off x="7010400" y="2646363"/>
                <a:ext cx="26988" cy="52388"/>
              </a:xfrm>
              <a:custGeom>
                <a:avLst/>
                <a:gdLst>
                  <a:gd name="T0" fmla="*/ 36 w 36"/>
                  <a:gd name="T1" fmla="*/ 61 h 70"/>
                  <a:gd name="T2" fmla="*/ 35 w 36"/>
                  <a:gd name="T3" fmla="*/ 22 h 70"/>
                  <a:gd name="T4" fmla="*/ 35 w 36"/>
                  <a:gd name="T5" fmla="*/ 8 h 70"/>
                  <a:gd name="T6" fmla="*/ 35 w 36"/>
                  <a:gd name="T7" fmla="*/ 1 h 70"/>
                  <a:gd name="T8" fmla="*/ 0 w 36"/>
                  <a:gd name="T9" fmla="*/ 0 h 70"/>
                  <a:gd name="T10" fmla="*/ 0 w 36"/>
                  <a:gd name="T11" fmla="*/ 8 h 70"/>
                  <a:gd name="T12" fmla="*/ 0 w 36"/>
                  <a:gd name="T13" fmla="*/ 22 h 70"/>
                  <a:gd name="T14" fmla="*/ 1 w 36"/>
                  <a:gd name="T15" fmla="*/ 62 h 70"/>
                  <a:gd name="T16" fmla="*/ 1 w 36"/>
                  <a:gd name="T17" fmla="*/ 70 h 70"/>
                  <a:gd name="T18" fmla="*/ 36 w 36"/>
                  <a:gd name="T19" fmla="*/ 68 h 70"/>
                  <a:gd name="T20" fmla="*/ 36 w 36"/>
                  <a:gd name="T21" fmla="*/ 61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" h="70">
                    <a:moveTo>
                      <a:pt x="36" y="61"/>
                    </a:moveTo>
                    <a:cubicBezTo>
                      <a:pt x="35" y="47"/>
                      <a:pt x="35" y="34"/>
                      <a:pt x="35" y="22"/>
                    </a:cubicBezTo>
                    <a:cubicBezTo>
                      <a:pt x="35" y="17"/>
                      <a:pt x="35" y="13"/>
                      <a:pt x="35" y="8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2"/>
                      <a:pt x="0" y="17"/>
                      <a:pt x="0" y="22"/>
                    </a:cubicBezTo>
                    <a:cubicBezTo>
                      <a:pt x="0" y="34"/>
                      <a:pt x="0" y="48"/>
                      <a:pt x="1" y="62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6" y="68"/>
                      <a:pt x="36" y="68"/>
                      <a:pt x="36" y="68"/>
                    </a:cubicBezTo>
                    <a:lnTo>
                      <a:pt x="36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6" name="Freeform 169"/>
              <p:cNvSpPr>
                <a:spLocks/>
              </p:cNvSpPr>
              <p:nvPr/>
            </p:nvSpPr>
            <p:spPr bwMode="black">
              <a:xfrm>
                <a:off x="7608888" y="2187575"/>
                <a:ext cx="58738" cy="47625"/>
              </a:xfrm>
              <a:custGeom>
                <a:avLst/>
                <a:gdLst>
                  <a:gd name="T0" fmla="*/ 37 w 37"/>
                  <a:gd name="T1" fmla="*/ 14 h 30"/>
                  <a:gd name="T2" fmla="*/ 29 w 37"/>
                  <a:gd name="T3" fmla="*/ 0 h 30"/>
                  <a:gd name="T4" fmla="*/ 0 w 37"/>
                  <a:gd name="T5" fmla="*/ 15 h 30"/>
                  <a:gd name="T6" fmla="*/ 8 w 37"/>
                  <a:gd name="T7" fmla="*/ 30 h 30"/>
                  <a:gd name="T8" fmla="*/ 37 w 37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37" y="14"/>
                    </a:moveTo>
                    <a:lnTo>
                      <a:pt x="29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7" name="Freeform 170"/>
              <p:cNvSpPr>
                <a:spLocks/>
              </p:cNvSpPr>
              <p:nvPr/>
            </p:nvSpPr>
            <p:spPr bwMode="black">
              <a:xfrm>
                <a:off x="7011988" y="2566988"/>
                <a:ext cx="34925" cy="53975"/>
              </a:xfrm>
              <a:custGeom>
                <a:avLst/>
                <a:gdLst>
                  <a:gd name="T0" fmla="*/ 36 w 46"/>
                  <a:gd name="T1" fmla="*/ 64 h 72"/>
                  <a:gd name="T2" fmla="*/ 37 w 46"/>
                  <a:gd name="T3" fmla="*/ 61 h 72"/>
                  <a:gd name="T4" fmla="*/ 46 w 46"/>
                  <a:gd name="T5" fmla="*/ 21 h 72"/>
                  <a:gd name="T6" fmla="*/ 46 w 46"/>
                  <a:gd name="T7" fmla="*/ 7 h 72"/>
                  <a:gd name="T8" fmla="*/ 45 w 46"/>
                  <a:gd name="T9" fmla="*/ 0 h 72"/>
                  <a:gd name="T10" fmla="*/ 10 w 46"/>
                  <a:gd name="T11" fmla="*/ 2 h 72"/>
                  <a:gd name="T12" fmla="*/ 11 w 46"/>
                  <a:gd name="T13" fmla="*/ 10 h 72"/>
                  <a:gd name="T14" fmla="*/ 11 w 46"/>
                  <a:gd name="T15" fmla="*/ 21 h 72"/>
                  <a:gd name="T16" fmla="*/ 8 w 46"/>
                  <a:gd name="T17" fmla="*/ 42 h 72"/>
                  <a:gd name="T18" fmla="*/ 2 w 46"/>
                  <a:gd name="T19" fmla="*/ 56 h 72"/>
                  <a:gd name="T20" fmla="*/ 0 w 46"/>
                  <a:gd name="T21" fmla="*/ 63 h 72"/>
                  <a:gd name="T22" fmla="*/ 34 w 46"/>
                  <a:gd name="T23" fmla="*/ 72 h 72"/>
                  <a:gd name="T24" fmla="*/ 36 w 46"/>
                  <a:gd name="T25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72">
                    <a:moveTo>
                      <a:pt x="36" y="64"/>
                    </a:moveTo>
                    <a:cubicBezTo>
                      <a:pt x="37" y="62"/>
                      <a:pt x="37" y="61"/>
                      <a:pt x="37" y="61"/>
                    </a:cubicBezTo>
                    <a:cubicBezTo>
                      <a:pt x="43" y="51"/>
                      <a:pt x="46" y="38"/>
                      <a:pt x="46" y="21"/>
                    </a:cubicBezTo>
                    <a:cubicBezTo>
                      <a:pt x="46" y="17"/>
                      <a:pt x="46" y="12"/>
                      <a:pt x="46" y="7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4"/>
                      <a:pt x="11" y="17"/>
                      <a:pt x="11" y="21"/>
                    </a:cubicBezTo>
                    <a:cubicBezTo>
                      <a:pt x="11" y="35"/>
                      <a:pt x="9" y="40"/>
                      <a:pt x="8" y="42"/>
                    </a:cubicBezTo>
                    <a:cubicBezTo>
                      <a:pt x="5" y="46"/>
                      <a:pt x="3" y="50"/>
                      <a:pt x="2" y="56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34" y="72"/>
                      <a:pt x="34" y="72"/>
                      <a:pt x="34" y="72"/>
                    </a:cubicBezTo>
                    <a:lnTo>
                      <a:pt x="36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8" name="Freeform 171"/>
              <p:cNvSpPr>
                <a:spLocks/>
              </p:cNvSpPr>
              <p:nvPr/>
            </p:nvSpPr>
            <p:spPr bwMode="black">
              <a:xfrm>
                <a:off x="7011988" y="2484438"/>
                <a:ext cx="34925" cy="57150"/>
              </a:xfrm>
              <a:custGeom>
                <a:avLst/>
                <a:gdLst>
                  <a:gd name="T0" fmla="*/ 5 w 46"/>
                  <a:gd name="T1" fmla="*/ 76 h 76"/>
                  <a:gd name="T2" fmla="*/ 39 w 46"/>
                  <a:gd name="T3" fmla="*/ 70 h 76"/>
                  <a:gd name="T4" fmla="*/ 38 w 46"/>
                  <a:gd name="T5" fmla="*/ 63 h 76"/>
                  <a:gd name="T6" fmla="*/ 36 w 46"/>
                  <a:gd name="T7" fmla="*/ 46 h 76"/>
                  <a:gd name="T8" fmla="*/ 43 w 46"/>
                  <a:gd name="T9" fmla="*/ 21 h 76"/>
                  <a:gd name="T10" fmla="*/ 46 w 46"/>
                  <a:gd name="T11" fmla="*/ 14 h 76"/>
                  <a:gd name="T12" fmla="*/ 13 w 46"/>
                  <a:gd name="T13" fmla="*/ 0 h 76"/>
                  <a:gd name="T14" fmla="*/ 11 w 46"/>
                  <a:gd name="T15" fmla="*/ 7 h 76"/>
                  <a:gd name="T16" fmla="*/ 0 w 46"/>
                  <a:gd name="T17" fmla="*/ 46 h 76"/>
                  <a:gd name="T18" fmla="*/ 3 w 46"/>
                  <a:gd name="T19" fmla="*/ 69 h 76"/>
                  <a:gd name="T20" fmla="*/ 5 w 46"/>
                  <a:gd name="T21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76">
                    <a:moveTo>
                      <a:pt x="5" y="76"/>
                    </a:moveTo>
                    <a:cubicBezTo>
                      <a:pt x="39" y="70"/>
                      <a:pt x="39" y="70"/>
                      <a:pt x="39" y="70"/>
                    </a:cubicBezTo>
                    <a:cubicBezTo>
                      <a:pt x="38" y="63"/>
                      <a:pt x="38" y="63"/>
                      <a:pt x="38" y="63"/>
                    </a:cubicBezTo>
                    <a:cubicBezTo>
                      <a:pt x="37" y="58"/>
                      <a:pt x="36" y="49"/>
                      <a:pt x="36" y="46"/>
                    </a:cubicBezTo>
                    <a:cubicBezTo>
                      <a:pt x="36" y="43"/>
                      <a:pt x="37" y="35"/>
                      <a:pt x="43" y="2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6" y="18"/>
                      <a:pt x="0" y="34"/>
                      <a:pt x="0" y="46"/>
                    </a:cubicBezTo>
                    <a:cubicBezTo>
                      <a:pt x="0" y="51"/>
                      <a:pt x="1" y="58"/>
                      <a:pt x="3" y="69"/>
                    </a:cubicBezTo>
                    <a:lnTo>
                      <a:pt x="5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9" name="Freeform 172"/>
              <p:cNvSpPr>
                <a:spLocks/>
              </p:cNvSpPr>
              <p:nvPr/>
            </p:nvSpPr>
            <p:spPr bwMode="black">
              <a:xfrm>
                <a:off x="8045450" y="2289175"/>
                <a:ext cx="58738" cy="47625"/>
              </a:xfrm>
              <a:custGeom>
                <a:avLst/>
                <a:gdLst>
                  <a:gd name="T0" fmla="*/ 53 w 77"/>
                  <a:gd name="T1" fmla="*/ 61 h 64"/>
                  <a:gd name="T2" fmla="*/ 60 w 77"/>
                  <a:gd name="T3" fmla="*/ 64 h 64"/>
                  <a:gd name="T4" fmla="*/ 77 w 77"/>
                  <a:gd name="T5" fmla="*/ 34 h 64"/>
                  <a:gd name="T6" fmla="*/ 70 w 77"/>
                  <a:gd name="T7" fmla="*/ 30 h 64"/>
                  <a:gd name="T8" fmla="*/ 23 w 77"/>
                  <a:gd name="T9" fmla="*/ 4 h 64"/>
                  <a:gd name="T10" fmla="*/ 17 w 77"/>
                  <a:gd name="T11" fmla="*/ 0 h 64"/>
                  <a:gd name="T12" fmla="*/ 0 w 77"/>
                  <a:gd name="T13" fmla="*/ 31 h 64"/>
                  <a:gd name="T14" fmla="*/ 6 w 77"/>
                  <a:gd name="T15" fmla="*/ 35 h 64"/>
                  <a:gd name="T16" fmla="*/ 53 w 77"/>
                  <a:gd name="T17" fmla="*/ 6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3" y="61"/>
                    </a:moveTo>
                    <a:cubicBezTo>
                      <a:pt x="60" y="64"/>
                      <a:pt x="60" y="64"/>
                      <a:pt x="60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4" y="21"/>
                      <a:pt x="39" y="12"/>
                      <a:pt x="23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24" y="45"/>
                      <a:pt x="39" y="53"/>
                      <a:pt x="53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0" name="Freeform 173"/>
              <p:cNvSpPr>
                <a:spLocks/>
              </p:cNvSpPr>
              <p:nvPr/>
            </p:nvSpPr>
            <p:spPr bwMode="black">
              <a:xfrm>
                <a:off x="8251825" y="2411413"/>
                <a:ext cx="58738" cy="50800"/>
              </a:xfrm>
              <a:custGeom>
                <a:avLst/>
                <a:gdLst>
                  <a:gd name="T0" fmla="*/ 51 w 77"/>
                  <a:gd name="T1" fmla="*/ 63 h 67"/>
                  <a:gd name="T2" fmla="*/ 57 w 77"/>
                  <a:gd name="T3" fmla="*/ 67 h 67"/>
                  <a:gd name="T4" fmla="*/ 77 w 77"/>
                  <a:gd name="T5" fmla="*/ 38 h 67"/>
                  <a:gd name="T6" fmla="*/ 71 w 77"/>
                  <a:gd name="T7" fmla="*/ 34 h 67"/>
                  <a:gd name="T8" fmla="*/ 26 w 77"/>
                  <a:gd name="T9" fmla="*/ 4 h 67"/>
                  <a:gd name="T10" fmla="*/ 19 w 77"/>
                  <a:gd name="T11" fmla="*/ 0 h 67"/>
                  <a:gd name="T12" fmla="*/ 0 w 77"/>
                  <a:gd name="T13" fmla="*/ 29 h 67"/>
                  <a:gd name="T14" fmla="*/ 7 w 77"/>
                  <a:gd name="T15" fmla="*/ 33 h 67"/>
                  <a:gd name="T16" fmla="*/ 51 w 77"/>
                  <a:gd name="T17" fmla="*/ 6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7">
                    <a:moveTo>
                      <a:pt x="51" y="63"/>
                    </a:moveTo>
                    <a:cubicBezTo>
                      <a:pt x="57" y="67"/>
                      <a:pt x="57" y="67"/>
                      <a:pt x="57" y="67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71" y="34"/>
                      <a:pt x="71" y="34"/>
                      <a:pt x="71" y="34"/>
                    </a:cubicBezTo>
                    <a:cubicBezTo>
                      <a:pt x="58" y="25"/>
                      <a:pt x="42" y="15"/>
                      <a:pt x="26" y="4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23" y="44"/>
                      <a:pt x="38" y="54"/>
                      <a:pt x="51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1" name="Freeform 174"/>
              <p:cNvSpPr>
                <a:spLocks/>
              </p:cNvSpPr>
              <p:nvPr/>
            </p:nvSpPr>
            <p:spPr bwMode="black">
              <a:xfrm>
                <a:off x="8185150" y="2368550"/>
                <a:ext cx="57150" cy="49213"/>
              </a:xfrm>
              <a:custGeom>
                <a:avLst/>
                <a:gdLst>
                  <a:gd name="T0" fmla="*/ 52 w 77"/>
                  <a:gd name="T1" fmla="*/ 62 h 66"/>
                  <a:gd name="T2" fmla="*/ 58 w 77"/>
                  <a:gd name="T3" fmla="*/ 66 h 66"/>
                  <a:gd name="T4" fmla="*/ 77 w 77"/>
                  <a:gd name="T5" fmla="*/ 36 h 66"/>
                  <a:gd name="T6" fmla="*/ 70 w 77"/>
                  <a:gd name="T7" fmla="*/ 32 h 66"/>
                  <a:gd name="T8" fmla="*/ 24 w 77"/>
                  <a:gd name="T9" fmla="*/ 4 h 66"/>
                  <a:gd name="T10" fmla="*/ 18 w 77"/>
                  <a:gd name="T11" fmla="*/ 0 h 66"/>
                  <a:gd name="T12" fmla="*/ 0 w 77"/>
                  <a:gd name="T13" fmla="*/ 31 h 66"/>
                  <a:gd name="T14" fmla="*/ 6 w 77"/>
                  <a:gd name="T15" fmla="*/ 35 h 66"/>
                  <a:gd name="T16" fmla="*/ 52 w 77"/>
                  <a:gd name="T17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62"/>
                    </a:moveTo>
                    <a:cubicBezTo>
                      <a:pt x="58" y="66"/>
                      <a:pt x="58" y="66"/>
                      <a:pt x="58" y="6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0" y="32"/>
                      <a:pt x="70" y="32"/>
                      <a:pt x="70" y="32"/>
                    </a:cubicBezTo>
                    <a:cubicBezTo>
                      <a:pt x="56" y="23"/>
                      <a:pt x="41" y="14"/>
                      <a:pt x="24" y="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23" y="44"/>
                      <a:pt x="38" y="53"/>
                      <a:pt x="5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2" name="Freeform 175"/>
              <p:cNvSpPr>
                <a:spLocks/>
              </p:cNvSpPr>
              <p:nvPr/>
            </p:nvSpPr>
            <p:spPr bwMode="black">
              <a:xfrm>
                <a:off x="8356600" y="2528888"/>
                <a:ext cx="33338" cy="55563"/>
              </a:xfrm>
              <a:custGeom>
                <a:avLst/>
                <a:gdLst>
                  <a:gd name="T0" fmla="*/ 2 w 44"/>
                  <a:gd name="T1" fmla="*/ 15 h 73"/>
                  <a:gd name="T2" fmla="*/ 9 w 44"/>
                  <a:gd name="T3" fmla="*/ 65 h 73"/>
                  <a:gd name="T4" fmla="*/ 9 w 44"/>
                  <a:gd name="T5" fmla="*/ 73 h 73"/>
                  <a:gd name="T6" fmla="*/ 44 w 44"/>
                  <a:gd name="T7" fmla="*/ 70 h 73"/>
                  <a:gd name="T8" fmla="*/ 44 w 44"/>
                  <a:gd name="T9" fmla="*/ 62 h 73"/>
                  <a:gd name="T10" fmla="*/ 36 w 44"/>
                  <a:gd name="T11" fmla="*/ 7 h 73"/>
                  <a:gd name="T12" fmla="*/ 35 w 44"/>
                  <a:gd name="T13" fmla="*/ 0 h 73"/>
                  <a:gd name="T14" fmla="*/ 0 w 44"/>
                  <a:gd name="T15" fmla="*/ 7 h 73"/>
                  <a:gd name="T16" fmla="*/ 2 w 44"/>
                  <a:gd name="T17" fmla="*/ 1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73">
                    <a:moveTo>
                      <a:pt x="2" y="15"/>
                    </a:moveTo>
                    <a:cubicBezTo>
                      <a:pt x="5" y="29"/>
                      <a:pt x="7" y="46"/>
                      <a:pt x="9" y="65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42" y="42"/>
                      <a:pt x="39" y="24"/>
                      <a:pt x="36" y="7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7"/>
                      <a:pt x="0" y="7"/>
                      <a:pt x="0" y="7"/>
                    </a:cubicBezTo>
                    <a:lnTo>
                      <a:pt x="2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3" name="Freeform 176"/>
              <p:cNvSpPr>
                <a:spLocks/>
              </p:cNvSpPr>
              <p:nvPr/>
            </p:nvSpPr>
            <p:spPr bwMode="black">
              <a:xfrm>
                <a:off x="8316913" y="2457450"/>
                <a:ext cx="55563" cy="52388"/>
              </a:xfrm>
              <a:custGeom>
                <a:avLst/>
                <a:gdLst>
                  <a:gd name="T0" fmla="*/ 38 w 73"/>
                  <a:gd name="T1" fmla="*/ 65 h 71"/>
                  <a:gd name="T2" fmla="*/ 42 w 73"/>
                  <a:gd name="T3" fmla="*/ 71 h 71"/>
                  <a:gd name="T4" fmla="*/ 73 w 73"/>
                  <a:gd name="T5" fmla="*/ 55 h 71"/>
                  <a:gd name="T6" fmla="*/ 69 w 73"/>
                  <a:gd name="T7" fmla="*/ 48 h 71"/>
                  <a:gd name="T8" fmla="*/ 28 w 73"/>
                  <a:gd name="T9" fmla="*/ 5 h 71"/>
                  <a:gd name="T10" fmla="*/ 22 w 73"/>
                  <a:gd name="T11" fmla="*/ 0 h 71"/>
                  <a:gd name="T12" fmla="*/ 0 w 73"/>
                  <a:gd name="T13" fmla="*/ 28 h 71"/>
                  <a:gd name="T14" fmla="*/ 6 w 73"/>
                  <a:gd name="T15" fmla="*/ 33 h 71"/>
                  <a:gd name="T16" fmla="*/ 38 w 73"/>
                  <a:gd name="T17" fmla="*/ 6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71">
                    <a:moveTo>
                      <a:pt x="38" y="65"/>
                    </a:moveTo>
                    <a:cubicBezTo>
                      <a:pt x="42" y="71"/>
                      <a:pt x="42" y="71"/>
                      <a:pt x="42" y="71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69" y="48"/>
                      <a:pt x="69" y="48"/>
                      <a:pt x="69" y="48"/>
                    </a:cubicBezTo>
                    <a:cubicBezTo>
                      <a:pt x="63" y="36"/>
                      <a:pt x="50" y="23"/>
                      <a:pt x="28" y="5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30" y="52"/>
                      <a:pt x="37" y="62"/>
                      <a:pt x="38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4" name="Freeform 177"/>
              <p:cNvSpPr>
                <a:spLocks/>
              </p:cNvSpPr>
              <p:nvPr/>
            </p:nvSpPr>
            <p:spPr bwMode="black">
              <a:xfrm>
                <a:off x="8115300" y="2328863"/>
                <a:ext cx="58738" cy="47625"/>
              </a:xfrm>
              <a:custGeom>
                <a:avLst/>
                <a:gdLst>
                  <a:gd name="T0" fmla="*/ 52 w 77"/>
                  <a:gd name="T1" fmla="*/ 60 h 64"/>
                  <a:gd name="T2" fmla="*/ 59 w 77"/>
                  <a:gd name="T3" fmla="*/ 64 h 64"/>
                  <a:gd name="T4" fmla="*/ 77 w 77"/>
                  <a:gd name="T5" fmla="*/ 34 h 64"/>
                  <a:gd name="T6" fmla="*/ 70 w 77"/>
                  <a:gd name="T7" fmla="*/ 30 h 64"/>
                  <a:gd name="T8" fmla="*/ 24 w 77"/>
                  <a:gd name="T9" fmla="*/ 3 h 64"/>
                  <a:gd name="T10" fmla="*/ 17 w 77"/>
                  <a:gd name="T11" fmla="*/ 0 h 64"/>
                  <a:gd name="T12" fmla="*/ 0 w 77"/>
                  <a:gd name="T13" fmla="*/ 30 h 64"/>
                  <a:gd name="T14" fmla="*/ 6 w 77"/>
                  <a:gd name="T15" fmla="*/ 34 h 64"/>
                  <a:gd name="T16" fmla="*/ 52 w 77"/>
                  <a:gd name="T17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2" y="60"/>
                    </a:move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5" y="22"/>
                      <a:pt x="40" y="13"/>
                      <a:pt x="24" y="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2" y="43"/>
                      <a:pt x="38" y="52"/>
                      <a:pt x="52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5" name="Freeform 178"/>
              <p:cNvSpPr>
                <a:spLocks/>
              </p:cNvSpPr>
              <p:nvPr/>
            </p:nvSpPr>
            <p:spPr bwMode="black">
              <a:xfrm>
                <a:off x="7821613" y="2162175"/>
                <a:ext cx="58738" cy="49213"/>
              </a:xfrm>
              <a:custGeom>
                <a:avLst/>
                <a:gdLst>
                  <a:gd name="T0" fmla="*/ 52 w 77"/>
                  <a:gd name="T1" fmla="*/ 62 h 66"/>
                  <a:gd name="T2" fmla="*/ 59 w 77"/>
                  <a:gd name="T3" fmla="*/ 66 h 66"/>
                  <a:gd name="T4" fmla="*/ 77 w 77"/>
                  <a:gd name="T5" fmla="*/ 36 h 66"/>
                  <a:gd name="T6" fmla="*/ 71 w 77"/>
                  <a:gd name="T7" fmla="*/ 32 h 66"/>
                  <a:gd name="T8" fmla="*/ 24 w 77"/>
                  <a:gd name="T9" fmla="*/ 4 h 66"/>
                  <a:gd name="T10" fmla="*/ 18 w 77"/>
                  <a:gd name="T11" fmla="*/ 0 h 66"/>
                  <a:gd name="T12" fmla="*/ 0 w 77"/>
                  <a:gd name="T13" fmla="*/ 31 h 66"/>
                  <a:gd name="T14" fmla="*/ 7 w 77"/>
                  <a:gd name="T15" fmla="*/ 35 h 66"/>
                  <a:gd name="T16" fmla="*/ 52 w 77"/>
                  <a:gd name="T17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62"/>
                    </a:moveTo>
                    <a:cubicBezTo>
                      <a:pt x="59" y="66"/>
                      <a:pt x="59" y="66"/>
                      <a:pt x="59" y="6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1" y="32"/>
                      <a:pt x="71" y="32"/>
                      <a:pt x="71" y="32"/>
                    </a:cubicBezTo>
                    <a:cubicBezTo>
                      <a:pt x="54" y="21"/>
                      <a:pt x="39" y="12"/>
                      <a:pt x="24" y="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1" y="42"/>
                      <a:pt x="36" y="51"/>
                      <a:pt x="5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6" name="Freeform 179"/>
              <p:cNvSpPr>
                <a:spLocks/>
              </p:cNvSpPr>
              <p:nvPr/>
            </p:nvSpPr>
            <p:spPr bwMode="black">
              <a:xfrm>
                <a:off x="7754938" y="2133600"/>
                <a:ext cx="53975" cy="39688"/>
              </a:xfrm>
              <a:custGeom>
                <a:avLst/>
                <a:gdLst>
                  <a:gd name="T0" fmla="*/ 10 w 73"/>
                  <a:gd name="T1" fmla="*/ 35 h 52"/>
                  <a:gd name="T2" fmla="*/ 15 w 73"/>
                  <a:gd name="T3" fmla="*/ 35 h 52"/>
                  <a:gd name="T4" fmla="*/ 51 w 73"/>
                  <a:gd name="T5" fmla="*/ 48 h 52"/>
                  <a:gd name="T6" fmla="*/ 58 w 73"/>
                  <a:gd name="T7" fmla="*/ 52 h 52"/>
                  <a:gd name="T8" fmla="*/ 73 w 73"/>
                  <a:gd name="T9" fmla="*/ 20 h 52"/>
                  <a:gd name="T10" fmla="*/ 66 w 73"/>
                  <a:gd name="T11" fmla="*/ 17 h 52"/>
                  <a:gd name="T12" fmla="*/ 19 w 73"/>
                  <a:gd name="T13" fmla="*/ 0 h 52"/>
                  <a:gd name="T14" fmla="*/ 10 w 73"/>
                  <a:gd name="T15" fmla="*/ 0 h 52"/>
                  <a:gd name="T16" fmla="*/ 10 w 73"/>
                  <a:gd name="T17" fmla="*/ 0 h 52"/>
                  <a:gd name="T18" fmla="*/ 0 w 73"/>
                  <a:gd name="T19" fmla="*/ 0 h 52"/>
                  <a:gd name="T20" fmla="*/ 1 w 73"/>
                  <a:gd name="T21" fmla="*/ 35 h 52"/>
                  <a:gd name="T22" fmla="*/ 10 w 73"/>
                  <a:gd name="T23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2">
                    <a:moveTo>
                      <a:pt x="10" y="35"/>
                    </a:moveTo>
                    <a:cubicBezTo>
                      <a:pt x="11" y="35"/>
                      <a:pt x="13" y="35"/>
                      <a:pt x="15" y="35"/>
                    </a:cubicBezTo>
                    <a:cubicBezTo>
                      <a:pt x="19" y="36"/>
                      <a:pt x="30" y="38"/>
                      <a:pt x="51" y="48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46" y="7"/>
                      <a:pt x="31" y="2"/>
                      <a:pt x="19" y="0"/>
                    </a:cubicBezTo>
                    <a:cubicBezTo>
                      <a:pt x="16" y="0"/>
                      <a:pt x="13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35"/>
                      <a:pt x="1" y="35"/>
                      <a:pt x="1" y="35"/>
                    </a:cubicBezTo>
                    <a:lnTo>
                      <a:pt x="1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7" name="Freeform 180"/>
              <p:cNvSpPr>
                <a:spLocks/>
              </p:cNvSpPr>
              <p:nvPr/>
            </p:nvSpPr>
            <p:spPr bwMode="black">
              <a:xfrm>
                <a:off x="7677150" y="2144713"/>
                <a:ext cx="57150" cy="49213"/>
              </a:xfrm>
              <a:custGeom>
                <a:avLst/>
                <a:gdLst>
                  <a:gd name="T0" fmla="*/ 27 w 76"/>
                  <a:gd name="T1" fmla="*/ 61 h 66"/>
                  <a:gd name="T2" fmla="*/ 69 w 76"/>
                  <a:gd name="T3" fmla="*/ 35 h 66"/>
                  <a:gd name="T4" fmla="*/ 76 w 76"/>
                  <a:gd name="T5" fmla="*/ 31 h 66"/>
                  <a:gd name="T6" fmla="*/ 60 w 76"/>
                  <a:gd name="T7" fmla="*/ 0 h 66"/>
                  <a:gd name="T8" fmla="*/ 53 w 76"/>
                  <a:gd name="T9" fmla="*/ 3 h 66"/>
                  <a:gd name="T10" fmla="*/ 6 w 76"/>
                  <a:gd name="T11" fmla="*/ 33 h 66"/>
                  <a:gd name="T12" fmla="*/ 0 w 76"/>
                  <a:gd name="T13" fmla="*/ 38 h 66"/>
                  <a:gd name="T14" fmla="*/ 21 w 76"/>
                  <a:gd name="T15" fmla="*/ 66 h 66"/>
                  <a:gd name="T16" fmla="*/ 27 w 76"/>
                  <a:gd name="T17" fmla="*/ 6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6">
                    <a:moveTo>
                      <a:pt x="27" y="61"/>
                    </a:moveTo>
                    <a:cubicBezTo>
                      <a:pt x="37" y="54"/>
                      <a:pt x="52" y="43"/>
                      <a:pt x="69" y="35"/>
                    </a:cubicBezTo>
                    <a:cubicBezTo>
                      <a:pt x="76" y="31"/>
                      <a:pt x="76" y="31"/>
                      <a:pt x="76" y="3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34" y="13"/>
                      <a:pt x="17" y="25"/>
                      <a:pt x="6" y="33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1" y="66"/>
                      <a:pt x="21" y="66"/>
                      <a:pt x="21" y="66"/>
                    </a:cubicBezTo>
                    <a:lnTo>
                      <a:pt x="27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8" name="Freeform 181"/>
              <p:cNvSpPr>
                <a:spLocks/>
              </p:cNvSpPr>
              <p:nvPr/>
            </p:nvSpPr>
            <p:spPr bwMode="black">
              <a:xfrm>
                <a:off x="7026275" y="2797175"/>
                <a:ext cx="57150" cy="49213"/>
              </a:xfrm>
              <a:custGeom>
                <a:avLst/>
                <a:gdLst>
                  <a:gd name="T0" fmla="*/ 31 w 76"/>
                  <a:gd name="T1" fmla="*/ 5 h 67"/>
                  <a:gd name="T2" fmla="*/ 26 w 76"/>
                  <a:gd name="T3" fmla="*/ 0 h 67"/>
                  <a:gd name="T4" fmla="*/ 0 w 76"/>
                  <a:gd name="T5" fmla="*/ 23 h 67"/>
                  <a:gd name="T6" fmla="*/ 5 w 76"/>
                  <a:gd name="T7" fmla="*/ 29 h 67"/>
                  <a:gd name="T8" fmla="*/ 53 w 76"/>
                  <a:gd name="T9" fmla="*/ 64 h 67"/>
                  <a:gd name="T10" fmla="*/ 59 w 76"/>
                  <a:gd name="T11" fmla="*/ 67 h 67"/>
                  <a:gd name="T12" fmla="*/ 76 w 76"/>
                  <a:gd name="T13" fmla="*/ 36 h 67"/>
                  <a:gd name="T14" fmla="*/ 69 w 76"/>
                  <a:gd name="T15" fmla="*/ 33 h 67"/>
                  <a:gd name="T16" fmla="*/ 31 w 76"/>
                  <a:gd name="T17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7">
                    <a:moveTo>
                      <a:pt x="31" y="5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8" y="43"/>
                      <a:pt x="38" y="56"/>
                      <a:pt x="53" y="64"/>
                    </a:cubicBezTo>
                    <a:cubicBezTo>
                      <a:pt x="59" y="67"/>
                      <a:pt x="59" y="67"/>
                      <a:pt x="59" y="67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52" y="23"/>
                      <a:pt x="38" y="14"/>
                      <a:pt x="3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9" name="Freeform 182"/>
              <p:cNvSpPr>
                <a:spLocks/>
              </p:cNvSpPr>
              <p:nvPr/>
            </p:nvSpPr>
            <p:spPr bwMode="black">
              <a:xfrm>
                <a:off x="7975600" y="2251075"/>
                <a:ext cx="57150" cy="47625"/>
              </a:xfrm>
              <a:custGeom>
                <a:avLst/>
                <a:gdLst>
                  <a:gd name="T0" fmla="*/ 54 w 77"/>
                  <a:gd name="T1" fmla="*/ 60 h 64"/>
                  <a:gd name="T2" fmla="*/ 60 w 77"/>
                  <a:gd name="T3" fmla="*/ 64 h 64"/>
                  <a:gd name="T4" fmla="*/ 77 w 77"/>
                  <a:gd name="T5" fmla="*/ 33 h 64"/>
                  <a:gd name="T6" fmla="*/ 71 w 77"/>
                  <a:gd name="T7" fmla="*/ 29 h 64"/>
                  <a:gd name="T8" fmla="*/ 23 w 77"/>
                  <a:gd name="T9" fmla="*/ 4 h 64"/>
                  <a:gd name="T10" fmla="*/ 17 w 77"/>
                  <a:gd name="T11" fmla="*/ 0 h 64"/>
                  <a:gd name="T12" fmla="*/ 0 w 77"/>
                  <a:gd name="T13" fmla="*/ 31 h 64"/>
                  <a:gd name="T14" fmla="*/ 7 w 77"/>
                  <a:gd name="T15" fmla="*/ 35 h 64"/>
                  <a:gd name="T16" fmla="*/ 54 w 77"/>
                  <a:gd name="T17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4" y="60"/>
                    </a:moveTo>
                    <a:cubicBezTo>
                      <a:pt x="60" y="64"/>
                      <a:pt x="60" y="64"/>
                      <a:pt x="60" y="64"/>
                    </a:cubicBezTo>
                    <a:cubicBezTo>
                      <a:pt x="77" y="33"/>
                      <a:pt x="77" y="33"/>
                      <a:pt x="77" y="33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54" y="20"/>
                      <a:pt x="38" y="12"/>
                      <a:pt x="23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1" y="43"/>
                      <a:pt x="37" y="51"/>
                      <a:pt x="5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0" name="Freeform 183"/>
              <p:cNvSpPr>
                <a:spLocks/>
              </p:cNvSpPr>
              <p:nvPr/>
            </p:nvSpPr>
            <p:spPr bwMode="black">
              <a:xfrm>
                <a:off x="7889875" y="2203450"/>
                <a:ext cx="73025" cy="57150"/>
              </a:xfrm>
              <a:custGeom>
                <a:avLst/>
                <a:gdLst>
                  <a:gd name="T0" fmla="*/ 21 w 97"/>
                  <a:gd name="T1" fmla="*/ 44 h 76"/>
                  <a:gd name="T2" fmla="*/ 26 w 97"/>
                  <a:gd name="T3" fmla="*/ 47 h 76"/>
                  <a:gd name="T4" fmla="*/ 27 w 97"/>
                  <a:gd name="T5" fmla="*/ 48 h 76"/>
                  <a:gd name="T6" fmla="*/ 74 w 97"/>
                  <a:gd name="T7" fmla="*/ 73 h 76"/>
                  <a:gd name="T8" fmla="*/ 80 w 97"/>
                  <a:gd name="T9" fmla="*/ 76 h 76"/>
                  <a:gd name="T10" fmla="*/ 97 w 97"/>
                  <a:gd name="T11" fmla="*/ 45 h 76"/>
                  <a:gd name="T12" fmla="*/ 90 w 97"/>
                  <a:gd name="T13" fmla="*/ 41 h 76"/>
                  <a:gd name="T14" fmla="*/ 44 w 97"/>
                  <a:gd name="T15" fmla="*/ 17 h 76"/>
                  <a:gd name="T16" fmla="*/ 44 w 97"/>
                  <a:gd name="T17" fmla="*/ 17 h 76"/>
                  <a:gd name="T18" fmla="*/ 25 w 97"/>
                  <a:gd name="T19" fmla="*/ 5 h 76"/>
                  <a:gd name="T20" fmla="*/ 19 w 97"/>
                  <a:gd name="T21" fmla="*/ 0 h 76"/>
                  <a:gd name="T22" fmla="*/ 0 w 97"/>
                  <a:gd name="T23" fmla="*/ 30 h 76"/>
                  <a:gd name="T24" fmla="*/ 6 w 97"/>
                  <a:gd name="T25" fmla="*/ 34 h 76"/>
                  <a:gd name="T26" fmla="*/ 21 w 97"/>
                  <a:gd name="T27" fmla="*/ 4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7" h="76">
                    <a:moveTo>
                      <a:pt x="21" y="44"/>
                    </a:moveTo>
                    <a:cubicBezTo>
                      <a:pt x="24" y="46"/>
                      <a:pt x="26" y="47"/>
                      <a:pt x="26" y="47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9" y="49"/>
                      <a:pt x="46" y="58"/>
                      <a:pt x="74" y="73"/>
                    </a:cubicBezTo>
                    <a:cubicBezTo>
                      <a:pt x="80" y="76"/>
                      <a:pt x="80" y="76"/>
                      <a:pt x="80" y="76"/>
                    </a:cubicBezTo>
                    <a:cubicBezTo>
                      <a:pt x="97" y="45"/>
                      <a:pt x="97" y="45"/>
                      <a:pt x="97" y="45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60" y="26"/>
                      <a:pt x="49" y="20"/>
                      <a:pt x="44" y="17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4" y="17"/>
                      <a:pt x="37" y="12"/>
                      <a:pt x="25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12" y="38"/>
                      <a:pt x="18" y="42"/>
                      <a:pt x="21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1" name="Freeform 184"/>
              <p:cNvSpPr>
                <a:spLocks/>
              </p:cNvSpPr>
              <p:nvPr/>
            </p:nvSpPr>
            <p:spPr bwMode="black">
              <a:xfrm>
                <a:off x="7259638" y="2378075"/>
                <a:ext cx="57150" cy="47625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6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2" name="Freeform 185"/>
              <p:cNvSpPr>
                <a:spLocks/>
              </p:cNvSpPr>
              <p:nvPr/>
            </p:nvSpPr>
            <p:spPr bwMode="black">
              <a:xfrm>
                <a:off x="8091488" y="2879725"/>
                <a:ext cx="57150" cy="47625"/>
              </a:xfrm>
              <a:custGeom>
                <a:avLst/>
                <a:gdLst>
                  <a:gd name="T0" fmla="*/ 0 w 36"/>
                  <a:gd name="T1" fmla="*/ 16 h 30"/>
                  <a:gd name="T2" fmla="*/ 8 w 36"/>
                  <a:gd name="T3" fmla="*/ 30 h 30"/>
                  <a:gd name="T4" fmla="*/ 36 w 36"/>
                  <a:gd name="T5" fmla="*/ 14 h 30"/>
                  <a:gd name="T6" fmla="*/ 28 w 36"/>
                  <a:gd name="T7" fmla="*/ 0 h 30"/>
                  <a:gd name="T8" fmla="*/ 0 w 36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0" y="16"/>
                    </a:moveTo>
                    <a:lnTo>
                      <a:pt x="8" y="30"/>
                    </a:lnTo>
                    <a:lnTo>
                      <a:pt x="36" y="14"/>
                    </a:lnTo>
                    <a:lnTo>
                      <a:pt x="28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3" name="Freeform 186"/>
              <p:cNvSpPr>
                <a:spLocks/>
              </p:cNvSpPr>
              <p:nvPr/>
            </p:nvSpPr>
            <p:spPr bwMode="black">
              <a:xfrm>
                <a:off x="7953375" y="2960688"/>
                <a:ext cx="57150" cy="49213"/>
              </a:xfrm>
              <a:custGeom>
                <a:avLst/>
                <a:gdLst>
                  <a:gd name="T0" fmla="*/ 52 w 77"/>
                  <a:gd name="T1" fmla="*/ 4 h 66"/>
                  <a:gd name="T2" fmla="*/ 6 w 77"/>
                  <a:gd name="T3" fmla="*/ 32 h 66"/>
                  <a:gd name="T4" fmla="*/ 0 w 77"/>
                  <a:gd name="T5" fmla="*/ 36 h 66"/>
                  <a:gd name="T6" fmla="*/ 18 w 77"/>
                  <a:gd name="T7" fmla="*/ 66 h 66"/>
                  <a:gd name="T8" fmla="*/ 24 w 77"/>
                  <a:gd name="T9" fmla="*/ 62 h 66"/>
                  <a:gd name="T10" fmla="*/ 70 w 77"/>
                  <a:gd name="T11" fmla="*/ 34 h 66"/>
                  <a:gd name="T12" fmla="*/ 77 w 77"/>
                  <a:gd name="T13" fmla="*/ 31 h 66"/>
                  <a:gd name="T14" fmla="*/ 59 w 77"/>
                  <a:gd name="T15" fmla="*/ 0 h 66"/>
                  <a:gd name="T16" fmla="*/ 52 w 77"/>
                  <a:gd name="T17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4"/>
                    </a:moveTo>
                    <a:cubicBezTo>
                      <a:pt x="35" y="14"/>
                      <a:pt x="20" y="23"/>
                      <a:pt x="6" y="32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24" y="62"/>
                      <a:pt x="24" y="62"/>
                      <a:pt x="24" y="62"/>
                    </a:cubicBezTo>
                    <a:cubicBezTo>
                      <a:pt x="39" y="53"/>
                      <a:pt x="54" y="44"/>
                      <a:pt x="70" y="34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5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4" name="Freeform 187"/>
              <p:cNvSpPr>
                <a:spLocks/>
              </p:cNvSpPr>
              <p:nvPr/>
            </p:nvSpPr>
            <p:spPr bwMode="black">
              <a:xfrm>
                <a:off x="8021638" y="2919413"/>
                <a:ext cx="58738" cy="49213"/>
              </a:xfrm>
              <a:custGeom>
                <a:avLst/>
                <a:gdLst>
                  <a:gd name="T0" fmla="*/ 52 w 77"/>
                  <a:gd name="T1" fmla="*/ 4 h 65"/>
                  <a:gd name="T2" fmla="*/ 6 w 77"/>
                  <a:gd name="T3" fmla="*/ 31 h 65"/>
                  <a:gd name="T4" fmla="*/ 0 w 77"/>
                  <a:gd name="T5" fmla="*/ 35 h 65"/>
                  <a:gd name="T6" fmla="*/ 17 w 77"/>
                  <a:gd name="T7" fmla="*/ 65 h 65"/>
                  <a:gd name="T8" fmla="*/ 24 w 77"/>
                  <a:gd name="T9" fmla="*/ 61 h 65"/>
                  <a:gd name="T10" fmla="*/ 70 w 77"/>
                  <a:gd name="T11" fmla="*/ 34 h 65"/>
                  <a:gd name="T12" fmla="*/ 77 w 77"/>
                  <a:gd name="T13" fmla="*/ 31 h 65"/>
                  <a:gd name="T14" fmla="*/ 59 w 77"/>
                  <a:gd name="T15" fmla="*/ 0 h 65"/>
                  <a:gd name="T16" fmla="*/ 52 w 77"/>
                  <a:gd name="T1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5">
                    <a:moveTo>
                      <a:pt x="52" y="4"/>
                    </a:moveTo>
                    <a:cubicBezTo>
                      <a:pt x="37" y="13"/>
                      <a:pt x="21" y="22"/>
                      <a:pt x="6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39" y="52"/>
                      <a:pt x="55" y="44"/>
                      <a:pt x="70" y="34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5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5" name="Freeform 188"/>
              <p:cNvSpPr>
                <a:spLocks/>
              </p:cNvSpPr>
              <p:nvPr/>
            </p:nvSpPr>
            <p:spPr bwMode="black">
              <a:xfrm>
                <a:off x="7821613" y="3046413"/>
                <a:ext cx="53975" cy="53975"/>
              </a:xfrm>
              <a:custGeom>
                <a:avLst/>
                <a:gdLst>
                  <a:gd name="T0" fmla="*/ 45 w 72"/>
                  <a:gd name="T1" fmla="*/ 5 h 72"/>
                  <a:gd name="T2" fmla="*/ 10 w 72"/>
                  <a:gd name="T3" fmla="*/ 38 h 72"/>
                  <a:gd name="T4" fmla="*/ 4 w 72"/>
                  <a:gd name="T5" fmla="*/ 48 h 72"/>
                  <a:gd name="T6" fmla="*/ 0 w 72"/>
                  <a:gd name="T7" fmla="*/ 54 h 72"/>
                  <a:gd name="T8" fmla="*/ 30 w 72"/>
                  <a:gd name="T9" fmla="*/ 72 h 72"/>
                  <a:gd name="T10" fmla="*/ 34 w 72"/>
                  <a:gd name="T11" fmla="*/ 66 h 72"/>
                  <a:gd name="T12" fmla="*/ 39 w 72"/>
                  <a:gd name="T13" fmla="*/ 57 h 72"/>
                  <a:gd name="T14" fmla="*/ 66 w 72"/>
                  <a:gd name="T15" fmla="*/ 33 h 72"/>
                  <a:gd name="T16" fmla="*/ 72 w 72"/>
                  <a:gd name="T17" fmla="*/ 28 h 72"/>
                  <a:gd name="T18" fmla="*/ 51 w 72"/>
                  <a:gd name="T19" fmla="*/ 0 h 72"/>
                  <a:gd name="T20" fmla="*/ 45 w 72"/>
                  <a:gd name="T21" fmla="*/ 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2">
                    <a:moveTo>
                      <a:pt x="45" y="5"/>
                    </a:moveTo>
                    <a:cubicBezTo>
                      <a:pt x="26" y="19"/>
                      <a:pt x="15" y="29"/>
                      <a:pt x="10" y="38"/>
                    </a:cubicBezTo>
                    <a:cubicBezTo>
                      <a:pt x="8" y="41"/>
                      <a:pt x="6" y="44"/>
                      <a:pt x="4" y="48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4" y="66"/>
                      <a:pt x="34" y="66"/>
                      <a:pt x="34" y="66"/>
                    </a:cubicBezTo>
                    <a:cubicBezTo>
                      <a:pt x="36" y="63"/>
                      <a:pt x="37" y="60"/>
                      <a:pt x="39" y="57"/>
                    </a:cubicBezTo>
                    <a:cubicBezTo>
                      <a:pt x="40" y="55"/>
                      <a:pt x="45" y="49"/>
                      <a:pt x="66" y="33"/>
                    </a:cubicBezTo>
                    <a:cubicBezTo>
                      <a:pt x="72" y="28"/>
                      <a:pt x="72" y="28"/>
                      <a:pt x="72" y="28"/>
                    </a:cubicBezTo>
                    <a:cubicBezTo>
                      <a:pt x="51" y="0"/>
                      <a:pt x="51" y="0"/>
                      <a:pt x="51" y="0"/>
                    </a:cubicBezTo>
                    <a:lnTo>
                      <a:pt x="4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6" name="Freeform 189"/>
              <p:cNvSpPr>
                <a:spLocks/>
              </p:cNvSpPr>
              <p:nvPr/>
            </p:nvSpPr>
            <p:spPr bwMode="black">
              <a:xfrm>
                <a:off x="7885113" y="3001963"/>
                <a:ext cx="57150" cy="49213"/>
              </a:xfrm>
              <a:custGeom>
                <a:avLst/>
                <a:gdLst>
                  <a:gd name="T0" fmla="*/ 51 w 77"/>
                  <a:gd name="T1" fmla="*/ 4 h 66"/>
                  <a:gd name="T2" fmla="*/ 6 w 77"/>
                  <a:gd name="T3" fmla="*/ 33 h 66"/>
                  <a:gd name="T4" fmla="*/ 0 w 77"/>
                  <a:gd name="T5" fmla="*/ 37 h 66"/>
                  <a:gd name="T6" fmla="*/ 19 w 77"/>
                  <a:gd name="T7" fmla="*/ 66 h 66"/>
                  <a:gd name="T8" fmla="*/ 25 w 77"/>
                  <a:gd name="T9" fmla="*/ 62 h 66"/>
                  <a:gd name="T10" fmla="*/ 70 w 77"/>
                  <a:gd name="T11" fmla="*/ 34 h 66"/>
                  <a:gd name="T12" fmla="*/ 77 w 77"/>
                  <a:gd name="T13" fmla="*/ 30 h 66"/>
                  <a:gd name="T14" fmla="*/ 58 w 77"/>
                  <a:gd name="T15" fmla="*/ 0 h 66"/>
                  <a:gd name="T16" fmla="*/ 51 w 77"/>
                  <a:gd name="T17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1" y="4"/>
                    </a:moveTo>
                    <a:cubicBezTo>
                      <a:pt x="35" y="14"/>
                      <a:pt x="19" y="24"/>
                      <a:pt x="6" y="33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39" y="53"/>
                      <a:pt x="54" y="44"/>
                      <a:pt x="70" y="34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5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7" name="Freeform 190"/>
              <p:cNvSpPr>
                <a:spLocks/>
              </p:cNvSpPr>
              <p:nvPr/>
            </p:nvSpPr>
            <p:spPr bwMode="black">
              <a:xfrm>
                <a:off x="8159750" y="2840038"/>
                <a:ext cx="58738" cy="47625"/>
              </a:xfrm>
              <a:custGeom>
                <a:avLst/>
                <a:gdLst>
                  <a:gd name="T0" fmla="*/ 0 w 37"/>
                  <a:gd name="T1" fmla="*/ 16 h 30"/>
                  <a:gd name="T2" fmla="*/ 9 w 37"/>
                  <a:gd name="T3" fmla="*/ 30 h 30"/>
                  <a:gd name="T4" fmla="*/ 37 w 37"/>
                  <a:gd name="T5" fmla="*/ 14 h 30"/>
                  <a:gd name="T6" fmla="*/ 28 w 37"/>
                  <a:gd name="T7" fmla="*/ 0 h 30"/>
                  <a:gd name="T8" fmla="*/ 0 w 37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0" y="16"/>
                    </a:moveTo>
                    <a:lnTo>
                      <a:pt x="9" y="30"/>
                    </a:lnTo>
                    <a:lnTo>
                      <a:pt x="37" y="14"/>
                    </a:lnTo>
                    <a:lnTo>
                      <a:pt x="28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8" name="Freeform 191"/>
              <p:cNvSpPr>
                <a:spLocks/>
              </p:cNvSpPr>
              <p:nvPr/>
            </p:nvSpPr>
            <p:spPr bwMode="black">
              <a:xfrm>
                <a:off x="7038975" y="2435225"/>
                <a:ext cx="58738" cy="39688"/>
              </a:xfrm>
              <a:custGeom>
                <a:avLst/>
                <a:gdLst>
                  <a:gd name="T0" fmla="*/ 27 w 77"/>
                  <a:gd name="T1" fmla="*/ 5 h 53"/>
                  <a:gd name="T2" fmla="*/ 5 w 77"/>
                  <a:gd name="T3" fmla="*/ 24 h 53"/>
                  <a:gd name="T4" fmla="*/ 0 w 77"/>
                  <a:gd name="T5" fmla="*/ 30 h 53"/>
                  <a:gd name="T6" fmla="*/ 26 w 77"/>
                  <a:gd name="T7" fmla="*/ 53 h 53"/>
                  <a:gd name="T8" fmla="*/ 31 w 77"/>
                  <a:gd name="T9" fmla="*/ 47 h 53"/>
                  <a:gd name="T10" fmla="*/ 43 w 77"/>
                  <a:gd name="T11" fmla="*/ 37 h 53"/>
                  <a:gd name="T12" fmla="*/ 61 w 77"/>
                  <a:gd name="T13" fmla="*/ 39 h 53"/>
                  <a:gd name="T14" fmla="*/ 68 w 77"/>
                  <a:gd name="T15" fmla="*/ 41 h 53"/>
                  <a:gd name="T16" fmla="*/ 77 w 77"/>
                  <a:gd name="T17" fmla="*/ 8 h 53"/>
                  <a:gd name="T18" fmla="*/ 70 w 77"/>
                  <a:gd name="T19" fmla="*/ 6 h 53"/>
                  <a:gd name="T20" fmla="*/ 27 w 77"/>
                  <a:gd name="T21" fmla="*/ 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53">
                    <a:moveTo>
                      <a:pt x="27" y="5"/>
                    </a:moveTo>
                    <a:cubicBezTo>
                      <a:pt x="20" y="9"/>
                      <a:pt x="12" y="15"/>
                      <a:pt x="5" y="2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26" y="53"/>
                      <a:pt x="26" y="53"/>
                      <a:pt x="26" y="53"/>
                    </a:cubicBezTo>
                    <a:cubicBezTo>
                      <a:pt x="31" y="47"/>
                      <a:pt x="31" y="47"/>
                      <a:pt x="31" y="47"/>
                    </a:cubicBezTo>
                    <a:cubicBezTo>
                      <a:pt x="35" y="42"/>
                      <a:pt x="40" y="39"/>
                      <a:pt x="43" y="37"/>
                    </a:cubicBezTo>
                    <a:cubicBezTo>
                      <a:pt x="43" y="37"/>
                      <a:pt x="46" y="35"/>
                      <a:pt x="61" y="39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51" y="0"/>
                      <a:pt x="38" y="0"/>
                      <a:pt x="2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19" name="Freeform 192"/>
              <p:cNvSpPr>
                <a:spLocks/>
              </p:cNvSpPr>
              <p:nvPr/>
            </p:nvSpPr>
            <p:spPr bwMode="black">
              <a:xfrm>
                <a:off x="8348663" y="2689225"/>
                <a:ext cx="36513" cy="55563"/>
              </a:xfrm>
              <a:custGeom>
                <a:avLst/>
                <a:gdLst>
                  <a:gd name="T0" fmla="*/ 13 w 49"/>
                  <a:gd name="T1" fmla="*/ 7 h 75"/>
                  <a:gd name="T2" fmla="*/ 2 w 49"/>
                  <a:gd name="T3" fmla="*/ 57 h 75"/>
                  <a:gd name="T4" fmla="*/ 0 w 49"/>
                  <a:gd name="T5" fmla="*/ 64 h 75"/>
                  <a:gd name="T6" fmla="*/ 34 w 49"/>
                  <a:gd name="T7" fmla="*/ 75 h 75"/>
                  <a:gd name="T8" fmla="*/ 36 w 49"/>
                  <a:gd name="T9" fmla="*/ 67 h 75"/>
                  <a:gd name="T10" fmla="*/ 48 w 49"/>
                  <a:gd name="T11" fmla="*/ 13 h 75"/>
                  <a:gd name="T12" fmla="*/ 49 w 49"/>
                  <a:gd name="T13" fmla="*/ 5 h 75"/>
                  <a:gd name="T14" fmla="*/ 15 w 49"/>
                  <a:gd name="T15" fmla="*/ 0 h 75"/>
                  <a:gd name="T16" fmla="*/ 13 w 49"/>
                  <a:gd name="T17" fmla="*/ 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75">
                    <a:moveTo>
                      <a:pt x="13" y="7"/>
                    </a:moveTo>
                    <a:cubicBezTo>
                      <a:pt x="10" y="26"/>
                      <a:pt x="7" y="43"/>
                      <a:pt x="2" y="57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41" y="52"/>
                      <a:pt x="45" y="34"/>
                      <a:pt x="48" y="13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15" y="0"/>
                      <a:pt x="15" y="0"/>
                      <a:pt x="15" y="0"/>
                    </a:cubicBezTo>
                    <a:lnTo>
                      <a:pt x="13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0" name="Freeform 193"/>
              <p:cNvSpPr>
                <a:spLocks/>
              </p:cNvSpPr>
              <p:nvPr/>
            </p:nvSpPr>
            <p:spPr bwMode="black">
              <a:xfrm>
                <a:off x="8362950" y="2611438"/>
                <a:ext cx="26988" cy="52388"/>
              </a:xfrm>
              <a:custGeom>
                <a:avLst/>
                <a:gdLst>
                  <a:gd name="T0" fmla="*/ 2 w 38"/>
                  <a:gd name="T1" fmla="*/ 0 h 70"/>
                  <a:gd name="T2" fmla="*/ 2 w 38"/>
                  <a:gd name="T3" fmla="*/ 8 h 70"/>
                  <a:gd name="T4" fmla="*/ 0 w 38"/>
                  <a:gd name="T5" fmla="*/ 60 h 70"/>
                  <a:gd name="T6" fmla="*/ 0 w 38"/>
                  <a:gd name="T7" fmla="*/ 67 h 70"/>
                  <a:gd name="T8" fmla="*/ 35 w 38"/>
                  <a:gd name="T9" fmla="*/ 70 h 70"/>
                  <a:gd name="T10" fmla="*/ 35 w 38"/>
                  <a:gd name="T11" fmla="*/ 62 h 70"/>
                  <a:gd name="T12" fmla="*/ 38 w 38"/>
                  <a:gd name="T13" fmla="*/ 8 h 70"/>
                  <a:gd name="T14" fmla="*/ 38 w 38"/>
                  <a:gd name="T15" fmla="*/ 0 h 70"/>
                  <a:gd name="T16" fmla="*/ 2 w 38"/>
                  <a:gd name="T17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70">
                    <a:moveTo>
                      <a:pt x="2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2" y="25"/>
                      <a:pt x="2" y="43"/>
                      <a:pt x="0" y="60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7" y="44"/>
                      <a:pt x="38" y="26"/>
                      <a:pt x="38" y="8"/>
                    </a:cubicBezTo>
                    <a:cubicBezTo>
                      <a:pt x="38" y="0"/>
                      <a:pt x="38" y="0"/>
                      <a:pt x="38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1" name="Freeform 194"/>
              <p:cNvSpPr>
                <a:spLocks/>
              </p:cNvSpPr>
              <p:nvPr/>
            </p:nvSpPr>
            <p:spPr bwMode="black">
              <a:xfrm>
                <a:off x="7783513" y="3113088"/>
                <a:ext cx="47625" cy="57150"/>
              </a:xfrm>
              <a:custGeom>
                <a:avLst/>
                <a:gdLst>
                  <a:gd name="T0" fmla="*/ 32 w 63"/>
                  <a:gd name="T1" fmla="*/ 0 h 76"/>
                  <a:gd name="T2" fmla="*/ 29 w 63"/>
                  <a:gd name="T3" fmla="*/ 7 h 76"/>
                  <a:gd name="T4" fmla="*/ 5 w 63"/>
                  <a:gd name="T5" fmla="*/ 50 h 76"/>
                  <a:gd name="T6" fmla="*/ 0 w 63"/>
                  <a:gd name="T7" fmla="*/ 57 h 76"/>
                  <a:gd name="T8" fmla="*/ 30 w 63"/>
                  <a:gd name="T9" fmla="*/ 76 h 76"/>
                  <a:gd name="T10" fmla="*/ 34 w 63"/>
                  <a:gd name="T11" fmla="*/ 70 h 76"/>
                  <a:gd name="T12" fmla="*/ 60 w 63"/>
                  <a:gd name="T13" fmla="*/ 22 h 76"/>
                  <a:gd name="T14" fmla="*/ 63 w 63"/>
                  <a:gd name="T15" fmla="*/ 16 h 76"/>
                  <a:gd name="T16" fmla="*/ 49 w 63"/>
                  <a:gd name="T17" fmla="*/ 7 h 76"/>
                  <a:gd name="T18" fmla="*/ 32 w 63"/>
                  <a:gd name="T1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3" h="76">
                    <a:moveTo>
                      <a:pt x="32" y="0"/>
                    </a:moveTo>
                    <a:cubicBezTo>
                      <a:pt x="29" y="7"/>
                      <a:pt x="29" y="7"/>
                      <a:pt x="29" y="7"/>
                    </a:cubicBezTo>
                    <a:cubicBezTo>
                      <a:pt x="20" y="23"/>
                      <a:pt x="13" y="38"/>
                      <a:pt x="5" y="50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43" y="56"/>
                      <a:pt x="51" y="40"/>
                      <a:pt x="60" y="22"/>
                    </a:cubicBezTo>
                    <a:cubicBezTo>
                      <a:pt x="63" y="16"/>
                      <a:pt x="63" y="16"/>
                      <a:pt x="63" y="16"/>
                    </a:cubicBezTo>
                    <a:cubicBezTo>
                      <a:pt x="49" y="7"/>
                      <a:pt x="49" y="7"/>
                      <a:pt x="49" y="7"/>
                    </a:cubicBez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2" name="Freeform 195"/>
              <p:cNvSpPr>
                <a:spLocks/>
              </p:cNvSpPr>
              <p:nvPr/>
            </p:nvSpPr>
            <p:spPr bwMode="black">
              <a:xfrm>
                <a:off x="8229600" y="2798763"/>
                <a:ext cx="57150" cy="49213"/>
              </a:xfrm>
              <a:custGeom>
                <a:avLst/>
                <a:gdLst>
                  <a:gd name="T0" fmla="*/ 52 w 76"/>
                  <a:gd name="T1" fmla="*/ 3 h 65"/>
                  <a:gd name="T2" fmla="*/ 6 w 76"/>
                  <a:gd name="T3" fmla="*/ 31 h 65"/>
                  <a:gd name="T4" fmla="*/ 0 w 76"/>
                  <a:gd name="T5" fmla="*/ 35 h 65"/>
                  <a:gd name="T6" fmla="*/ 17 w 76"/>
                  <a:gd name="T7" fmla="*/ 65 h 65"/>
                  <a:gd name="T8" fmla="*/ 24 w 76"/>
                  <a:gd name="T9" fmla="*/ 61 h 65"/>
                  <a:gd name="T10" fmla="*/ 70 w 76"/>
                  <a:gd name="T11" fmla="*/ 33 h 65"/>
                  <a:gd name="T12" fmla="*/ 76 w 76"/>
                  <a:gd name="T13" fmla="*/ 30 h 65"/>
                  <a:gd name="T14" fmla="*/ 58 w 76"/>
                  <a:gd name="T15" fmla="*/ 0 h 65"/>
                  <a:gd name="T16" fmla="*/ 52 w 76"/>
                  <a:gd name="T17" fmla="*/ 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5">
                    <a:moveTo>
                      <a:pt x="52" y="3"/>
                    </a:moveTo>
                    <a:cubicBezTo>
                      <a:pt x="38" y="12"/>
                      <a:pt x="22" y="21"/>
                      <a:pt x="6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41" y="51"/>
                      <a:pt x="56" y="42"/>
                      <a:pt x="70" y="33"/>
                    </a:cubicBezTo>
                    <a:cubicBezTo>
                      <a:pt x="76" y="30"/>
                      <a:pt x="76" y="30"/>
                      <a:pt x="76" y="3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5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3" name="Freeform 196"/>
              <p:cNvSpPr>
                <a:spLocks/>
              </p:cNvSpPr>
              <p:nvPr/>
            </p:nvSpPr>
            <p:spPr bwMode="black">
              <a:xfrm>
                <a:off x="8297863" y="2754313"/>
                <a:ext cx="57150" cy="50800"/>
              </a:xfrm>
              <a:custGeom>
                <a:avLst/>
                <a:gdLst>
                  <a:gd name="T0" fmla="*/ 49 w 77"/>
                  <a:gd name="T1" fmla="*/ 5 h 68"/>
                  <a:gd name="T2" fmla="*/ 7 w 77"/>
                  <a:gd name="T3" fmla="*/ 34 h 68"/>
                  <a:gd name="T4" fmla="*/ 0 w 77"/>
                  <a:gd name="T5" fmla="*/ 39 h 68"/>
                  <a:gd name="T6" fmla="*/ 19 w 77"/>
                  <a:gd name="T7" fmla="*/ 68 h 68"/>
                  <a:gd name="T8" fmla="*/ 26 w 77"/>
                  <a:gd name="T9" fmla="*/ 64 h 68"/>
                  <a:gd name="T10" fmla="*/ 71 w 77"/>
                  <a:gd name="T11" fmla="*/ 33 h 68"/>
                  <a:gd name="T12" fmla="*/ 77 w 77"/>
                  <a:gd name="T13" fmla="*/ 28 h 68"/>
                  <a:gd name="T14" fmla="*/ 55 w 77"/>
                  <a:gd name="T15" fmla="*/ 0 h 68"/>
                  <a:gd name="T16" fmla="*/ 49 w 77"/>
                  <a:gd name="T17" fmla="*/ 5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8">
                    <a:moveTo>
                      <a:pt x="49" y="5"/>
                    </a:moveTo>
                    <a:cubicBezTo>
                      <a:pt x="40" y="12"/>
                      <a:pt x="26" y="22"/>
                      <a:pt x="7" y="3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46" y="51"/>
                      <a:pt x="61" y="41"/>
                      <a:pt x="71" y="33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49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4" name="Freeform 197"/>
              <p:cNvSpPr>
                <a:spLocks/>
              </p:cNvSpPr>
              <p:nvPr/>
            </p:nvSpPr>
            <p:spPr bwMode="black">
              <a:xfrm>
                <a:off x="7313613" y="2935288"/>
                <a:ext cx="57150" cy="49213"/>
              </a:xfrm>
              <a:custGeom>
                <a:avLst/>
                <a:gdLst>
                  <a:gd name="T0" fmla="*/ 24 w 77"/>
                  <a:gd name="T1" fmla="*/ 4 h 65"/>
                  <a:gd name="T2" fmla="*/ 18 w 77"/>
                  <a:gd name="T3" fmla="*/ 0 h 65"/>
                  <a:gd name="T4" fmla="*/ 0 w 77"/>
                  <a:gd name="T5" fmla="*/ 30 h 65"/>
                  <a:gd name="T6" fmla="*/ 7 w 77"/>
                  <a:gd name="T7" fmla="*/ 34 h 65"/>
                  <a:gd name="T8" fmla="*/ 53 w 77"/>
                  <a:gd name="T9" fmla="*/ 61 h 65"/>
                  <a:gd name="T10" fmla="*/ 59 w 77"/>
                  <a:gd name="T11" fmla="*/ 65 h 65"/>
                  <a:gd name="T12" fmla="*/ 77 w 77"/>
                  <a:gd name="T13" fmla="*/ 34 h 65"/>
                  <a:gd name="T14" fmla="*/ 71 w 77"/>
                  <a:gd name="T15" fmla="*/ 31 h 65"/>
                  <a:gd name="T16" fmla="*/ 24 w 77"/>
                  <a:gd name="T1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5">
                    <a:moveTo>
                      <a:pt x="24" y="4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22" y="43"/>
                      <a:pt x="37" y="52"/>
                      <a:pt x="53" y="61"/>
                    </a:cubicBezTo>
                    <a:cubicBezTo>
                      <a:pt x="59" y="65"/>
                      <a:pt x="59" y="65"/>
                      <a:pt x="59" y="65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1" y="31"/>
                      <a:pt x="71" y="31"/>
                      <a:pt x="71" y="31"/>
                    </a:cubicBezTo>
                    <a:cubicBezTo>
                      <a:pt x="55" y="22"/>
                      <a:pt x="40" y="13"/>
                      <a:pt x="2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5" name="Freeform 198"/>
              <p:cNvSpPr>
                <a:spLocks/>
              </p:cNvSpPr>
              <p:nvPr/>
            </p:nvSpPr>
            <p:spPr bwMode="black">
              <a:xfrm>
                <a:off x="7381875" y="2974975"/>
                <a:ext cx="57150" cy="49213"/>
              </a:xfrm>
              <a:custGeom>
                <a:avLst/>
                <a:gdLst>
                  <a:gd name="T0" fmla="*/ 0 w 36"/>
                  <a:gd name="T1" fmla="*/ 15 h 31"/>
                  <a:gd name="T2" fmla="*/ 28 w 36"/>
                  <a:gd name="T3" fmla="*/ 31 h 31"/>
                  <a:gd name="T4" fmla="*/ 36 w 36"/>
                  <a:gd name="T5" fmla="*/ 17 h 31"/>
                  <a:gd name="T6" fmla="*/ 8 w 36"/>
                  <a:gd name="T7" fmla="*/ 0 h 31"/>
                  <a:gd name="T8" fmla="*/ 0 w 3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1">
                    <a:moveTo>
                      <a:pt x="0" y="15"/>
                    </a:moveTo>
                    <a:lnTo>
                      <a:pt x="28" y="31"/>
                    </a:lnTo>
                    <a:lnTo>
                      <a:pt x="36" y="17"/>
                    </a:lnTo>
                    <a:lnTo>
                      <a:pt x="8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6" name="Freeform 199"/>
              <p:cNvSpPr>
                <a:spLocks/>
              </p:cNvSpPr>
              <p:nvPr/>
            </p:nvSpPr>
            <p:spPr bwMode="black">
              <a:xfrm>
                <a:off x="7243763" y="2895600"/>
                <a:ext cx="58738" cy="47625"/>
              </a:xfrm>
              <a:custGeom>
                <a:avLst/>
                <a:gdLst>
                  <a:gd name="T0" fmla="*/ 24 w 77"/>
                  <a:gd name="T1" fmla="*/ 4 h 64"/>
                  <a:gd name="T2" fmla="*/ 17 w 77"/>
                  <a:gd name="T3" fmla="*/ 0 h 64"/>
                  <a:gd name="T4" fmla="*/ 0 w 77"/>
                  <a:gd name="T5" fmla="*/ 31 h 64"/>
                  <a:gd name="T6" fmla="*/ 6 w 77"/>
                  <a:gd name="T7" fmla="*/ 34 h 64"/>
                  <a:gd name="T8" fmla="*/ 53 w 77"/>
                  <a:gd name="T9" fmla="*/ 61 h 64"/>
                  <a:gd name="T10" fmla="*/ 59 w 77"/>
                  <a:gd name="T11" fmla="*/ 64 h 64"/>
                  <a:gd name="T12" fmla="*/ 77 w 77"/>
                  <a:gd name="T13" fmla="*/ 34 h 64"/>
                  <a:gd name="T14" fmla="*/ 70 w 77"/>
                  <a:gd name="T15" fmla="*/ 30 h 64"/>
                  <a:gd name="T16" fmla="*/ 24 w 77"/>
                  <a:gd name="T17" fmla="*/ 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24" y="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1" y="42"/>
                      <a:pt x="36" y="51"/>
                      <a:pt x="53" y="61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3" y="20"/>
                      <a:pt x="38" y="12"/>
                      <a:pt x="2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7" name="Freeform 200"/>
              <p:cNvSpPr>
                <a:spLocks/>
              </p:cNvSpPr>
              <p:nvPr/>
            </p:nvSpPr>
            <p:spPr bwMode="black">
              <a:xfrm>
                <a:off x="7173913" y="2857500"/>
                <a:ext cx="57150" cy="47625"/>
              </a:xfrm>
              <a:custGeom>
                <a:avLst/>
                <a:gdLst>
                  <a:gd name="T0" fmla="*/ 23 w 77"/>
                  <a:gd name="T1" fmla="*/ 3 h 63"/>
                  <a:gd name="T2" fmla="*/ 16 w 77"/>
                  <a:gd name="T3" fmla="*/ 0 h 63"/>
                  <a:gd name="T4" fmla="*/ 0 w 77"/>
                  <a:gd name="T5" fmla="*/ 31 h 63"/>
                  <a:gd name="T6" fmla="*/ 7 w 77"/>
                  <a:gd name="T7" fmla="*/ 35 h 63"/>
                  <a:gd name="T8" fmla="*/ 54 w 77"/>
                  <a:gd name="T9" fmla="*/ 59 h 63"/>
                  <a:gd name="T10" fmla="*/ 60 w 77"/>
                  <a:gd name="T11" fmla="*/ 63 h 63"/>
                  <a:gd name="T12" fmla="*/ 77 w 77"/>
                  <a:gd name="T13" fmla="*/ 32 h 63"/>
                  <a:gd name="T14" fmla="*/ 71 w 77"/>
                  <a:gd name="T15" fmla="*/ 29 h 63"/>
                  <a:gd name="T16" fmla="*/ 23 w 77"/>
                  <a:gd name="T17" fmla="*/ 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3">
                    <a:moveTo>
                      <a:pt x="23" y="3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0" y="41"/>
                      <a:pt x="36" y="50"/>
                      <a:pt x="54" y="59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77" y="32"/>
                      <a:pt x="77" y="32"/>
                      <a:pt x="77" y="32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52" y="18"/>
                      <a:pt x="36" y="10"/>
                      <a:pt x="2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8" name="Freeform 201"/>
              <p:cNvSpPr>
                <a:spLocks/>
              </p:cNvSpPr>
              <p:nvPr/>
            </p:nvSpPr>
            <p:spPr bwMode="black">
              <a:xfrm>
                <a:off x="7099300" y="2835275"/>
                <a:ext cx="57150" cy="34925"/>
              </a:xfrm>
              <a:custGeom>
                <a:avLst/>
                <a:gdLst>
                  <a:gd name="T0" fmla="*/ 60 w 76"/>
                  <a:gd name="T1" fmla="*/ 10 h 47"/>
                  <a:gd name="T2" fmla="*/ 58 w 76"/>
                  <a:gd name="T3" fmla="*/ 10 h 47"/>
                  <a:gd name="T4" fmla="*/ 18 w 76"/>
                  <a:gd name="T5" fmla="*/ 2 h 47"/>
                  <a:gd name="T6" fmla="*/ 11 w 76"/>
                  <a:gd name="T7" fmla="*/ 0 h 47"/>
                  <a:gd name="T8" fmla="*/ 0 w 76"/>
                  <a:gd name="T9" fmla="*/ 33 h 47"/>
                  <a:gd name="T10" fmla="*/ 7 w 76"/>
                  <a:gd name="T11" fmla="*/ 35 h 47"/>
                  <a:gd name="T12" fmla="*/ 55 w 76"/>
                  <a:gd name="T13" fmla="*/ 45 h 47"/>
                  <a:gd name="T14" fmla="*/ 60 w 76"/>
                  <a:gd name="T15" fmla="*/ 45 h 47"/>
                  <a:gd name="T16" fmla="*/ 61 w 76"/>
                  <a:gd name="T17" fmla="*/ 45 h 47"/>
                  <a:gd name="T18" fmla="*/ 68 w 76"/>
                  <a:gd name="T19" fmla="*/ 47 h 47"/>
                  <a:gd name="T20" fmla="*/ 76 w 76"/>
                  <a:gd name="T21" fmla="*/ 13 h 47"/>
                  <a:gd name="T22" fmla="*/ 69 w 76"/>
                  <a:gd name="T23" fmla="*/ 11 h 47"/>
                  <a:gd name="T24" fmla="*/ 60 w 76"/>
                  <a:gd name="T25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47">
                    <a:moveTo>
                      <a:pt x="60" y="10"/>
                    </a:moveTo>
                    <a:cubicBezTo>
                      <a:pt x="58" y="10"/>
                      <a:pt x="58" y="10"/>
                      <a:pt x="58" y="10"/>
                    </a:cubicBezTo>
                    <a:cubicBezTo>
                      <a:pt x="49" y="11"/>
                      <a:pt x="35" y="8"/>
                      <a:pt x="18" y="2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0" y="40"/>
                      <a:pt x="39" y="45"/>
                      <a:pt x="55" y="45"/>
                    </a:cubicBezTo>
                    <a:cubicBezTo>
                      <a:pt x="57" y="45"/>
                      <a:pt x="59" y="45"/>
                      <a:pt x="60" y="45"/>
                    </a:cubicBezTo>
                    <a:cubicBezTo>
                      <a:pt x="60" y="45"/>
                      <a:pt x="61" y="45"/>
                      <a:pt x="61" y="45"/>
                    </a:cubicBezTo>
                    <a:cubicBezTo>
                      <a:pt x="68" y="47"/>
                      <a:pt x="68" y="47"/>
                      <a:pt x="68" y="47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1"/>
                      <a:pt x="69" y="11"/>
                      <a:pt x="69" y="11"/>
                    </a:cubicBezTo>
                    <a:cubicBezTo>
                      <a:pt x="66" y="10"/>
                      <a:pt x="63" y="10"/>
                      <a:pt x="6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9" name="Freeform 202"/>
              <p:cNvSpPr>
                <a:spLocks/>
              </p:cNvSpPr>
              <p:nvPr/>
            </p:nvSpPr>
            <p:spPr bwMode="black">
              <a:xfrm>
                <a:off x="7721600" y="3168650"/>
                <a:ext cx="55563" cy="30163"/>
              </a:xfrm>
              <a:custGeom>
                <a:avLst/>
                <a:gdLst>
                  <a:gd name="T0" fmla="*/ 57 w 74"/>
                  <a:gd name="T1" fmla="*/ 3 h 40"/>
                  <a:gd name="T2" fmla="*/ 53 w 74"/>
                  <a:gd name="T3" fmla="*/ 4 h 40"/>
                  <a:gd name="T4" fmla="*/ 11 w 74"/>
                  <a:gd name="T5" fmla="*/ 4 h 40"/>
                  <a:gd name="T6" fmla="*/ 3 w 74"/>
                  <a:gd name="T7" fmla="*/ 3 h 40"/>
                  <a:gd name="T8" fmla="*/ 0 w 74"/>
                  <a:gd name="T9" fmla="*/ 38 h 40"/>
                  <a:gd name="T10" fmla="*/ 7 w 74"/>
                  <a:gd name="T11" fmla="*/ 39 h 40"/>
                  <a:gd name="T12" fmla="*/ 32 w 74"/>
                  <a:gd name="T13" fmla="*/ 40 h 40"/>
                  <a:gd name="T14" fmla="*/ 60 w 74"/>
                  <a:gd name="T15" fmla="*/ 38 h 40"/>
                  <a:gd name="T16" fmla="*/ 67 w 74"/>
                  <a:gd name="T17" fmla="*/ 36 h 40"/>
                  <a:gd name="T18" fmla="*/ 74 w 74"/>
                  <a:gd name="T19" fmla="*/ 34 h 40"/>
                  <a:gd name="T20" fmla="*/ 64 w 74"/>
                  <a:gd name="T21" fmla="*/ 0 h 40"/>
                  <a:gd name="T22" fmla="*/ 57 w 74"/>
                  <a:gd name="T23" fmla="*/ 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40">
                    <a:moveTo>
                      <a:pt x="57" y="3"/>
                    </a:moveTo>
                    <a:cubicBezTo>
                      <a:pt x="56" y="3"/>
                      <a:pt x="55" y="3"/>
                      <a:pt x="53" y="4"/>
                    </a:cubicBezTo>
                    <a:cubicBezTo>
                      <a:pt x="43" y="5"/>
                      <a:pt x="28" y="6"/>
                      <a:pt x="11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16" y="40"/>
                      <a:pt x="25" y="40"/>
                      <a:pt x="32" y="40"/>
                    </a:cubicBezTo>
                    <a:cubicBezTo>
                      <a:pt x="43" y="40"/>
                      <a:pt x="52" y="40"/>
                      <a:pt x="60" y="38"/>
                    </a:cubicBezTo>
                    <a:cubicBezTo>
                      <a:pt x="62" y="38"/>
                      <a:pt x="65" y="37"/>
                      <a:pt x="67" y="36"/>
                    </a:cubicBezTo>
                    <a:cubicBezTo>
                      <a:pt x="74" y="34"/>
                      <a:pt x="74" y="34"/>
                      <a:pt x="74" y="34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5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0" name="Freeform 203"/>
              <p:cNvSpPr>
                <a:spLocks/>
              </p:cNvSpPr>
              <p:nvPr/>
            </p:nvSpPr>
            <p:spPr bwMode="black">
              <a:xfrm>
                <a:off x="7583488" y="3100388"/>
                <a:ext cx="49213" cy="58738"/>
              </a:xfrm>
              <a:custGeom>
                <a:avLst/>
                <a:gdLst>
                  <a:gd name="T0" fmla="*/ 49 w 64"/>
                  <a:gd name="T1" fmla="*/ 34 h 78"/>
                  <a:gd name="T2" fmla="*/ 49 w 64"/>
                  <a:gd name="T3" fmla="*/ 33 h 78"/>
                  <a:gd name="T4" fmla="*/ 33 w 64"/>
                  <a:gd name="T5" fmla="*/ 6 h 78"/>
                  <a:gd name="T6" fmla="*/ 29 w 64"/>
                  <a:gd name="T7" fmla="*/ 0 h 78"/>
                  <a:gd name="T8" fmla="*/ 0 w 64"/>
                  <a:gd name="T9" fmla="*/ 19 h 78"/>
                  <a:gd name="T10" fmla="*/ 4 w 64"/>
                  <a:gd name="T11" fmla="*/ 26 h 78"/>
                  <a:gd name="T12" fmla="*/ 18 w 64"/>
                  <a:gd name="T13" fmla="*/ 50 h 78"/>
                  <a:gd name="T14" fmla="*/ 31 w 64"/>
                  <a:gd name="T15" fmla="*/ 72 h 78"/>
                  <a:gd name="T16" fmla="*/ 35 w 64"/>
                  <a:gd name="T17" fmla="*/ 78 h 78"/>
                  <a:gd name="T18" fmla="*/ 64 w 64"/>
                  <a:gd name="T19" fmla="*/ 59 h 78"/>
                  <a:gd name="T20" fmla="*/ 60 w 64"/>
                  <a:gd name="T21" fmla="*/ 52 h 78"/>
                  <a:gd name="T22" fmla="*/ 49 w 64"/>
                  <a:gd name="T23" fmla="*/ 3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78">
                    <a:moveTo>
                      <a:pt x="49" y="34"/>
                    </a:moveTo>
                    <a:cubicBezTo>
                      <a:pt x="49" y="33"/>
                      <a:pt x="49" y="33"/>
                      <a:pt x="49" y="33"/>
                    </a:cubicBezTo>
                    <a:cubicBezTo>
                      <a:pt x="44" y="25"/>
                      <a:pt x="39" y="15"/>
                      <a:pt x="33" y="6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9" y="34"/>
                      <a:pt x="14" y="43"/>
                      <a:pt x="18" y="50"/>
                    </a:cubicBezTo>
                    <a:cubicBezTo>
                      <a:pt x="22" y="58"/>
                      <a:pt x="27" y="65"/>
                      <a:pt x="31" y="72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0" y="52"/>
                      <a:pt x="60" y="52"/>
                      <a:pt x="60" y="52"/>
                    </a:cubicBezTo>
                    <a:cubicBezTo>
                      <a:pt x="57" y="47"/>
                      <a:pt x="53" y="41"/>
                      <a:pt x="4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1" name="Freeform 204"/>
              <p:cNvSpPr>
                <a:spLocks/>
              </p:cNvSpPr>
              <p:nvPr/>
            </p:nvSpPr>
            <p:spPr bwMode="black">
              <a:xfrm>
                <a:off x="7521575" y="3054350"/>
                <a:ext cx="55563" cy="47625"/>
              </a:xfrm>
              <a:custGeom>
                <a:avLst/>
                <a:gdLst>
                  <a:gd name="T0" fmla="*/ 23 w 75"/>
                  <a:gd name="T1" fmla="*/ 4 h 62"/>
                  <a:gd name="T2" fmla="*/ 17 w 75"/>
                  <a:gd name="T3" fmla="*/ 0 h 62"/>
                  <a:gd name="T4" fmla="*/ 0 w 75"/>
                  <a:gd name="T5" fmla="*/ 31 h 62"/>
                  <a:gd name="T6" fmla="*/ 6 w 75"/>
                  <a:gd name="T7" fmla="*/ 35 h 62"/>
                  <a:gd name="T8" fmla="*/ 57 w 75"/>
                  <a:gd name="T9" fmla="*/ 59 h 62"/>
                  <a:gd name="T10" fmla="*/ 66 w 75"/>
                  <a:gd name="T11" fmla="*/ 62 h 62"/>
                  <a:gd name="T12" fmla="*/ 75 w 75"/>
                  <a:gd name="T13" fmla="*/ 28 h 62"/>
                  <a:gd name="T14" fmla="*/ 66 w 75"/>
                  <a:gd name="T15" fmla="*/ 25 h 62"/>
                  <a:gd name="T16" fmla="*/ 23 w 75"/>
                  <a:gd name="T17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" h="62">
                    <a:moveTo>
                      <a:pt x="23" y="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2" y="54"/>
                      <a:pt x="52" y="58"/>
                      <a:pt x="57" y="59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75" y="28"/>
                      <a:pt x="75" y="28"/>
                      <a:pt x="75" y="28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65" y="25"/>
                      <a:pt x="58" y="2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2" name="Freeform 205"/>
              <p:cNvSpPr>
                <a:spLocks/>
              </p:cNvSpPr>
              <p:nvPr/>
            </p:nvSpPr>
            <p:spPr bwMode="black">
              <a:xfrm>
                <a:off x="7640638" y="3154363"/>
                <a:ext cx="57150" cy="38100"/>
              </a:xfrm>
              <a:custGeom>
                <a:avLst/>
                <a:gdLst>
                  <a:gd name="T0" fmla="*/ 19 w 76"/>
                  <a:gd name="T1" fmla="*/ 3 h 52"/>
                  <a:gd name="T2" fmla="*/ 12 w 76"/>
                  <a:gd name="T3" fmla="*/ 0 h 52"/>
                  <a:gd name="T4" fmla="*/ 0 w 76"/>
                  <a:gd name="T5" fmla="*/ 33 h 52"/>
                  <a:gd name="T6" fmla="*/ 7 w 76"/>
                  <a:gd name="T7" fmla="*/ 36 h 52"/>
                  <a:gd name="T8" fmla="*/ 61 w 76"/>
                  <a:gd name="T9" fmla="*/ 51 h 52"/>
                  <a:gd name="T10" fmla="*/ 68 w 76"/>
                  <a:gd name="T11" fmla="*/ 52 h 52"/>
                  <a:gd name="T12" fmla="*/ 76 w 76"/>
                  <a:gd name="T13" fmla="*/ 18 h 52"/>
                  <a:gd name="T14" fmla="*/ 68 w 76"/>
                  <a:gd name="T15" fmla="*/ 16 h 52"/>
                  <a:gd name="T16" fmla="*/ 19 w 76"/>
                  <a:gd name="T17" fmla="*/ 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52">
                    <a:moveTo>
                      <a:pt x="19" y="3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23" y="41"/>
                      <a:pt x="41" y="46"/>
                      <a:pt x="61" y="51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76" y="18"/>
                      <a:pt x="76" y="18"/>
                      <a:pt x="76" y="18"/>
                    </a:cubicBezTo>
                    <a:cubicBezTo>
                      <a:pt x="68" y="16"/>
                      <a:pt x="68" y="16"/>
                      <a:pt x="68" y="16"/>
                    </a:cubicBezTo>
                    <a:cubicBezTo>
                      <a:pt x="50" y="12"/>
                      <a:pt x="33" y="8"/>
                      <a:pt x="19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3" name="Freeform 206"/>
              <p:cNvSpPr>
                <a:spLocks/>
              </p:cNvSpPr>
              <p:nvPr/>
            </p:nvSpPr>
            <p:spPr bwMode="black">
              <a:xfrm>
                <a:off x="7451725" y="3016250"/>
                <a:ext cx="57150" cy="47625"/>
              </a:xfrm>
              <a:custGeom>
                <a:avLst/>
                <a:gdLst>
                  <a:gd name="T0" fmla="*/ 24 w 77"/>
                  <a:gd name="T1" fmla="*/ 3 h 64"/>
                  <a:gd name="T2" fmla="*/ 17 w 77"/>
                  <a:gd name="T3" fmla="*/ 0 h 64"/>
                  <a:gd name="T4" fmla="*/ 0 w 77"/>
                  <a:gd name="T5" fmla="*/ 30 h 64"/>
                  <a:gd name="T6" fmla="*/ 6 w 77"/>
                  <a:gd name="T7" fmla="*/ 34 h 64"/>
                  <a:gd name="T8" fmla="*/ 53 w 77"/>
                  <a:gd name="T9" fmla="*/ 61 h 64"/>
                  <a:gd name="T10" fmla="*/ 59 w 77"/>
                  <a:gd name="T11" fmla="*/ 64 h 64"/>
                  <a:gd name="T12" fmla="*/ 77 w 77"/>
                  <a:gd name="T13" fmla="*/ 34 h 64"/>
                  <a:gd name="T14" fmla="*/ 70 w 77"/>
                  <a:gd name="T15" fmla="*/ 30 h 64"/>
                  <a:gd name="T16" fmla="*/ 24 w 77"/>
                  <a:gd name="T17" fmla="*/ 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24" y="3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3" y="43"/>
                      <a:pt x="38" y="52"/>
                      <a:pt x="53" y="61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6" y="22"/>
                      <a:pt x="41" y="13"/>
                      <a:pt x="2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34" name="Freeform 207"/>
              <p:cNvSpPr>
                <a:spLocks noEditPoints="1"/>
              </p:cNvSpPr>
              <p:nvPr/>
            </p:nvSpPr>
            <p:spPr bwMode="black">
              <a:xfrm>
                <a:off x="7108825" y="2208213"/>
                <a:ext cx="1198563" cy="892175"/>
              </a:xfrm>
              <a:custGeom>
                <a:avLst/>
                <a:gdLst>
                  <a:gd name="T0" fmla="*/ 1583 w 1601"/>
                  <a:gd name="T1" fmla="*/ 409 h 1191"/>
                  <a:gd name="T2" fmla="*/ 891 w 1601"/>
                  <a:gd name="T3" fmla="*/ 6 h 1191"/>
                  <a:gd name="T4" fmla="*/ 841 w 1601"/>
                  <a:gd name="T5" fmla="*/ 6 h 1191"/>
                  <a:gd name="T6" fmla="*/ 861 w 1601"/>
                  <a:gd name="T7" fmla="*/ 834 h 1191"/>
                  <a:gd name="T8" fmla="*/ 596 w 1601"/>
                  <a:gd name="T9" fmla="*/ 987 h 1191"/>
                  <a:gd name="T10" fmla="*/ 148 w 1601"/>
                  <a:gd name="T11" fmla="*/ 797 h 1191"/>
                  <a:gd name="T12" fmla="*/ 200 w 1601"/>
                  <a:gd name="T13" fmla="*/ 762 h 1191"/>
                  <a:gd name="T14" fmla="*/ 886 w 1601"/>
                  <a:gd name="T15" fmla="*/ 1163 h 1191"/>
                  <a:gd name="T16" fmla="*/ 853 w 1601"/>
                  <a:gd name="T17" fmla="*/ 1191 h 1191"/>
                  <a:gd name="T18" fmla="*/ 677 w 1601"/>
                  <a:gd name="T19" fmla="*/ 1097 h 1191"/>
                  <a:gd name="T20" fmla="*/ 730 w 1601"/>
                  <a:gd name="T21" fmla="*/ 1062 h 1191"/>
                  <a:gd name="T22" fmla="*/ 831 w 1601"/>
                  <a:gd name="T23" fmla="*/ 926 h 1191"/>
                  <a:gd name="T24" fmla="*/ 56 w 1601"/>
                  <a:gd name="T25" fmla="*/ 679 h 1191"/>
                  <a:gd name="T26" fmla="*/ 66 w 1601"/>
                  <a:gd name="T27" fmla="*/ 687 h 1191"/>
                  <a:gd name="T28" fmla="*/ 27 w 1601"/>
                  <a:gd name="T29" fmla="*/ 728 h 1191"/>
                  <a:gd name="T30" fmla="*/ 0 w 1601"/>
                  <a:gd name="T31" fmla="*/ 691 h 1191"/>
                  <a:gd name="T32" fmla="*/ 17 w 1601"/>
                  <a:gd name="T33" fmla="*/ 416 h 1191"/>
                  <a:gd name="T34" fmla="*/ 96 w 1601"/>
                  <a:gd name="T35" fmla="*/ 442 h 1191"/>
                  <a:gd name="T36" fmla="*/ 877 w 1601"/>
                  <a:gd name="T37" fmla="*/ 881 h 1191"/>
                  <a:gd name="T38" fmla="*/ 1600 w 1601"/>
                  <a:gd name="T39" fmla="*/ 438 h 1191"/>
                  <a:gd name="T40" fmla="*/ 1601 w 1601"/>
                  <a:gd name="T41" fmla="*/ 669 h 1191"/>
                  <a:gd name="T42" fmla="*/ 919 w 1601"/>
                  <a:gd name="T43" fmla="*/ 1087 h 1191"/>
                  <a:gd name="T44" fmla="*/ 894 w 1601"/>
                  <a:gd name="T45" fmla="*/ 853 h 1191"/>
                  <a:gd name="T46" fmla="*/ 525 w 1601"/>
                  <a:gd name="T47" fmla="*/ 886 h 1191"/>
                  <a:gd name="T48" fmla="*/ 316 w 1601"/>
                  <a:gd name="T49" fmla="*/ 770 h 1191"/>
                  <a:gd name="T50" fmla="*/ 300 w 1601"/>
                  <a:gd name="T51" fmla="*/ 721 h 1191"/>
                  <a:gd name="T52" fmla="*/ 523 w 1601"/>
                  <a:gd name="T53" fmla="*/ 822 h 1191"/>
                  <a:gd name="T54" fmla="*/ 539 w 1601"/>
                  <a:gd name="T55" fmla="*/ 870 h 1191"/>
                  <a:gd name="T56" fmla="*/ 712 w 1601"/>
                  <a:gd name="T57" fmla="*/ 1033 h 1191"/>
                  <a:gd name="T58" fmla="*/ 648 w 1601"/>
                  <a:gd name="T59" fmla="*/ 1091 h 1191"/>
                  <a:gd name="T60" fmla="*/ 617 w 1601"/>
                  <a:gd name="T61" fmla="*/ 1070 h 1191"/>
                  <a:gd name="T62" fmla="*/ 625 w 1601"/>
                  <a:gd name="T63" fmla="*/ 914 h 1191"/>
                  <a:gd name="T64" fmla="*/ 712 w 1601"/>
                  <a:gd name="T65" fmla="*/ 885 h 1191"/>
                  <a:gd name="T66" fmla="*/ 708 w 1601"/>
                  <a:gd name="T67" fmla="*/ 909 h 1191"/>
                  <a:gd name="T68" fmla="*/ 659 w 1601"/>
                  <a:gd name="T69" fmla="*/ 1044 h 1191"/>
                  <a:gd name="T70" fmla="*/ 712 w 1601"/>
                  <a:gd name="T71" fmla="*/ 1033 h 1191"/>
                  <a:gd name="T72" fmla="*/ 177 w 1601"/>
                  <a:gd name="T73" fmla="*/ 756 h 1191"/>
                  <a:gd name="T74" fmla="*/ 92 w 1601"/>
                  <a:gd name="T75" fmla="*/ 786 h 1191"/>
                  <a:gd name="T76" fmla="*/ 86 w 1601"/>
                  <a:gd name="T77" fmla="*/ 632 h 1191"/>
                  <a:gd name="T78" fmla="*/ 154 w 1601"/>
                  <a:gd name="T79" fmla="*/ 580 h 1191"/>
                  <a:gd name="T80" fmla="*/ 181 w 1601"/>
                  <a:gd name="T81" fmla="*/ 585 h 1191"/>
                  <a:gd name="T82" fmla="*/ 129 w 1601"/>
                  <a:gd name="T83" fmla="*/ 637 h 1191"/>
                  <a:gd name="T84" fmla="*/ 154 w 1601"/>
                  <a:gd name="T85" fmla="*/ 729 h 1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01" h="1191">
                    <a:moveTo>
                      <a:pt x="861" y="834"/>
                    </a:moveTo>
                    <a:cubicBezTo>
                      <a:pt x="1583" y="409"/>
                      <a:pt x="1583" y="409"/>
                      <a:pt x="1583" y="409"/>
                    </a:cubicBezTo>
                    <a:cubicBezTo>
                      <a:pt x="1581" y="407"/>
                      <a:pt x="1579" y="406"/>
                      <a:pt x="1576" y="404"/>
                    </a:cubicBezTo>
                    <a:cubicBezTo>
                      <a:pt x="891" y="6"/>
                      <a:pt x="891" y="6"/>
                      <a:pt x="891" y="6"/>
                    </a:cubicBezTo>
                    <a:cubicBezTo>
                      <a:pt x="884" y="2"/>
                      <a:pt x="875" y="0"/>
                      <a:pt x="866" y="0"/>
                    </a:cubicBezTo>
                    <a:cubicBezTo>
                      <a:pt x="857" y="0"/>
                      <a:pt x="848" y="2"/>
                      <a:pt x="841" y="6"/>
                    </a:cubicBezTo>
                    <a:cubicBezTo>
                      <a:pt x="130" y="422"/>
                      <a:pt x="130" y="422"/>
                      <a:pt x="130" y="422"/>
                    </a:cubicBezTo>
                    <a:lnTo>
                      <a:pt x="861" y="834"/>
                    </a:lnTo>
                    <a:close/>
                    <a:moveTo>
                      <a:pt x="200" y="762"/>
                    </a:moveTo>
                    <a:cubicBezTo>
                      <a:pt x="596" y="987"/>
                      <a:pt x="596" y="987"/>
                      <a:pt x="596" y="987"/>
                    </a:cubicBezTo>
                    <a:cubicBezTo>
                      <a:pt x="596" y="1051"/>
                      <a:pt x="596" y="1051"/>
                      <a:pt x="596" y="1051"/>
                    </a:cubicBezTo>
                    <a:cubicBezTo>
                      <a:pt x="148" y="797"/>
                      <a:pt x="148" y="797"/>
                      <a:pt x="148" y="797"/>
                    </a:cubicBezTo>
                    <a:cubicBezTo>
                      <a:pt x="188" y="773"/>
                      <a:pt x="188" y="773"/>
                      <a:pt x="188" y="773"/>
                    </a:cubicBezTo>
                    <a:cubicBezTo>
                      <a:pt x="192" y="771"/>
                      <a:pt x="197" y="767"/>
                      <a:pt x="200" y="762"/>
                    </a:cubicBezTo>
                    <a:close/>
                    <a:moveTo>
                      <a:pt x="886" y="897"/>
                    </a:moveTo>
                    <a:cubicBezTo>
                      <a:pt x="886" y="1163"/>
                      <a:pt x="886" y="1163"/>
                      <a:pt x="886" y="1163"/>
                    </a:cubicBezTo>
                    <a:cubicBezTo>
                      <a:pt x="884" y="1173"/>
                      <a:pt x="878" y="1182"/>
                      <a:pt x="870" y="1187"/>
                    </a:cubicBezTo>
                    <a:cubicBezTo>
                      <a:pt x="865" y="1190"/>
                      <a:pt x="859" y="1191"/>
                      <a:pt x="853" y="1191"/>
                    </a:cubicBezTo>
                    <a:cubicBezTo>
                      <a:pt x="847" y="1191"/>
                      <a:pt x="840" y="1190"/>
                      <a:pt x="834" y="1186"/>
                    </a:cubicBezTo>
                    <a:cubicBezTo>
                      <a:pt x="677" y="1097"/>
                      <a:pt x="677" y="1097"/>
                      <a:pt x="677" y="1097"/>
                    </a:cubicBezTo>
                    <a:cubicBezTo>
                      <a:pt x="718" y="1073"/>
                      <a:pt x="718" y="1073"/>
                      <a:pt x="718" y="1073"/>
                    </a:cubicBezTo>
                    <a:cubicBezTo>
                      <a:pt x="723" y="1071"/>
                      <a:pt x="727" y="1067"/>
                      <a:pt x="730" y="1062"/>
                    </a:cubicBezTo>
                    <a:cubicBezTo>
                      <a:pt x="831" y="1120"/>
                      <a:pt x="831" y="1120"/>
                      <a:pt x="831" y="1120"/>
                    </a:cubicBezTo>
                    <a:cubicBezTo>
                      <a:pt x="831" y="926"/>
                      <a:pt x="831" y="926"/>
                      <a:pt x="831" y="926"/>
                    </a:cubicBezTo>
                    <a:cubicBezTo>
                      <a:pt x="56" y="483"/>
                      <a:pt x="56" y="483"/>
                      <a:pt x="56" y="483"/>
                    </a:cubicBezTo>
                    <a:cubicBezTo>
                      <a:pt x="56" y="679"/>
                      <a:pt x="56" y="679"/>
                      <a:pt x="56" y="679"/>
                    </a:cubicBezTo>
                    <a:cubicBezTo>
                      <a:pt x="57" y="681"/>
                      <a:pt x="57" y="681"/>
                      <a:pt x="57" y="681"/>
                    </a:cubicBezTo>
                    <a:cubicBezTo>
                      <a:pt x="66" y="687"/>
                      <a:pt x="66" y="687"/>
                      <a:pt x="66" y="687"/>
                    </a:cubicBezTo>
                    <a:cubicBezTo>
                      <a:pt x="66" y="750"/>
                      <a:pt x="66" y="750"/>
                      <a:pt x="66" y="750"/>
                    </a:cubicBezTo>
                    <a:cubicBezTo>
                      <a:pt x="27" y="728"/>
                      <a:pt x="27" y="728"/>
                      <a:pt x="27" y="728"/>
                    </a:cubicBezTo>
                    <a:cubicBezTo>
                      <a:pt x="4" y="710"/>
                      <a:pt x="4" y="710"/>
                      <a:pt x="4" y="710"/>
                    </a:cubicBezTo>
                    <a:cubicBezTo>
                      <a:pt x="0" y="691"/>
                      <a:pt x="0" y="691"/>
                      <a:pt x="0" y="691"/>
                    </a:cubicBezTo>
                    <a:cubicBezTo>
                      <a:pt x="0" y="448"/>
                      <a:pt x="0" y="448"/>
                      <a:pt x="0" y="448"/>
                    </a:cubicBezTo>
                    <a:cubicBezTo>
                      <a:pt x="0" y="434"/>
                      <a:pt x="6" y="423"/>
                      <a:pt x="17" y="416"/>
                    </a:cubicBezTo>
                    <a:cubicBezTo>
                      <a:pt x="28" y="410"/>
                      <a:pt x="41" y="410"/>
                      <a:pt x="53" y="417"/>
                    </a:cubicBezTo>
                    <a:cubicBezTo>
                      <a:pt x="96" y="442"/>
                      <a:pt x="96" y="442"/>
                      <a:pt x="96" y="442"/>
                    </a:cubicBezTo>
                    <a:cubicBezTo>
                      <a:pt x="97" y="441"/>
                      <a:pt x="97" y="441"/>
                      <a:pt x="97" y="441"/>
                    </a:cubicBezTo>
                    <a:cubicBezTo>
                      <a:pt x="877" y="881"/>
                      <a:pt x="877" y="881"/>
                      <a:pt x="877" y="881"/>
                    </a:cubicBezTo>
                    <a:cubicBezTo>
                      <a:pt x="881" y="883"/>
                      <a:pt x="886" y="892"/>
                      <a:pt x="886" y="897"/>
                    </a:cubicBezTo>
                    <a:close/>
                    <a:moveTo>
                      <a:pt x="1600" y="438"/>
                    </a:moveTo>
                    <a:cubicBezTo>
                      <a:pt x="1601" y="441"/>
                      <a:pt x="1601" y="444"/>
                      <a:pt x="1601" y="448"/>
                    </a:cubicBezTo>
                    <a:cubicBezTo>
                      <a:pt x="1601" y="669"/>
                      <a:pt x="1601" y="669"/>
                      <a:pt x="1601" y="669"/>
                    </a:cubicBezTo>
                    <a:cubicBezTo>
                      <a:pt x="1601" y="686"/>
                      <a:pt x="1591" y="704"/>
                      <a:pt x="1576" y="712"/>
                    </a:cubicBezTo>
                    <a:cubicBezTo>
                      <a:pt x="919" y="1087"/>
                      <a:pt x="919" y="1087"/>
                      <a:pt x="919" y="1087"/>
                    </a:cubicBezTo>
                    <a:cubicBezTo>
                      <a:pt x="919" y="897"/>
                      <a:pt x="919" y="897"/>
                      <a:pt x="919" y="897"/>
                    </a:cubicBezTo>
                    <a:cubicBezTo>
                      <a:pt x="919" y="880"/>
                      <a:pt x="909" y="862"/>
                      <a:pt x="894" y="853"/>
                    </a:cubicBezTo>
                    <a:lnTo>
                      <a:pt x="1600" y="438"/>
                    </a:lnTo>
                    <a:close/>
                    <a:moveTo>
                      <a:pt x="525" y="886"/>
                    </a:moveTo>
                    <a:cubicBezTo>
                      <a:pt x="522" y="886"/>
                      <a:pt x="519" y="885"/>
                      <a:pt x="516" y="884"/>
                    </a:cubicBezTo>
                    <a:cubicBezTo>
                      <a:pt x="316" y="770"/>
                      <a:pt x="316" y="770"/>
                      <a:pt x="316" y="770"/>
                    </a:cubicBezTo>
                    <a:cubicBezTo>
                      <a:pt x="307" y="765"/>
                      <a:pt x="300" y="753"/>
                      <a:pt x="300" y="742"/>
                    </a:cubicBezTo>
                    <a:cubicBezTo>
                      <a:pt x="300" y="721"/>
                      <a:pt x="300" y="721"/>
                      <a:pt x="300" y="721"/>
                    </a:cubicBezTo>
                    <a:cubicBezTo>
                      <a:pt x="300" y="708"/>
                      <a:pt x="311" y="701"/>
                      <a:pt x="323" y="708"/>
                    </a:cubicBezTo>
                    <a:cubicBezTo>
                      <a:pt x="523" y="822"/>
                      <a:pt x="523" y="822"/>
                      <a:pt x="523" y="822"/>
                    </a:cubicBezTo>
                    <a:cubicBezTo>
                      <a:pt x="532" y="827"/>
                      <a:pt x="539" y="839"/>
                      <a:pt x="539" y="849"/>
                    </a:cubicBezTo>
                    <a:cubicBezTo>
                      <a:pt x="539" y="870"/>
                      <a:pt x="539" y="870"/>
                      <a:pt x="539" y="870"/>
                    </a:cubicBezTo>
                    <a:cubicBezTo>
                      <a:pt x="539" y="880"/>
                      <a:pt x="533" y="886"/>
                      <a:pt x="525" y="886"/>
                    </a:cubicBezTo>
                    <a:close/>
                    <a:moveTo>
                      <a:pt x="712" y="1033"/>
                    </a:moveTo>
                    <a:cubicBezTo>
                      <a:pt x="718" y="1040"/>
                      <a:pt x="716" y="1051"/>
                      <a:pt x="708" y="1056"/>
                    </a:cubicBezTo>
                    <a:cubicBezTo>
                      <a:pt x="648" y="1091"/>
                      <a:pt x="648" y="1091"/>
                      <a:pt x="648" y="1091"/>
                    </a:cubicBezTo>
                    <a:cubicBezTo>
                      <a:pt x="640" y="1096"/>
                      <a:pt x="626" y="1090"/>
                      <a:pt x="622" y="1086"/>
                    </a:cubicBezTo>
                    <a:cubicBezTo>
                      <a:pt x="618" y="1082"/>
                      <a:pt x="617" y="1070"/>
                      <a:pt x="617" y="1070"/>
                    </a:cubicBezTo>
                    <a:cubicBezTo>
                      <a:pt x="617" y="932"/>
                      <a:pt x="617" y="932"/>
                      <a:pt x="617" y="932"/>
                    </a:cubicBezTo>
                    <a:cubicBezTo>
                      <a:pt x="617" y="932"/>
                      <a:pt x="618" y="918"/>
                      <a:pt x="625" y="914"/>
                    </a:cubicBezTo>
                    <a:cubicBezTo>
                      <a:pt x="684" y="880"/>
                      <a:pt x="684" y="880"/>
                      <a:pt x="684" y="880"/>
                    </a:cubicBezTo>
                    <a:cubicBezTo>
                      <a:pt x="693" y="875"/>
                      <a:pt x="706" y="878"/>
                      <a:pt x="712" y="885"/>
                    </a:cubicBezTo>
                    <a:cubicBezTo>
                      <a:pt x="712" y="885"/>
                      <a:pt x="712" y="885"/>
                      <a:pt x="712" y="885"/>
                    </a:cubicBezTo>
                    <a:cubicBezTo>
                      <a:pt x="717" y="893"/>
                      <a:pt x="716" y="904"/>
                      <a:pt x="708" y="909"/>
                    </a:cubicBezTo>
                    <a:cubicBezTo>
                      <a:pt x="659" y="937"/>
                      <a:pt x="659" y="937"/>
                      <a:pt x="659" y="937"/>
                    </a:cubicBezTo>
                    <a:cubicBezTo>
                      <a:pt x="659" y="1044"/>
                      <a:pt x="659" y="1044"/>
                      <a:pt x="659" y="1044"/>
                    </a:cubicBezTo>
                    <a:cubicBezTo>
                      <a:pt x="684" y="1029"/>
                      <a:pt x="684" y="1029"/>
                      <a:pt x="684" y="1029"/>
                    </a:cubicBezTo>
                    <a:cubicBezTo>
                      <a:pt x="693" y="1024"/>
                      <a:pt x="706" y="1025"/>
                      <a:pt x="712" y="1033"/>
                    </a:cubicBezTo>
                    <a:close/>
                    <a:moveTo>
                      <a:pt x="182" y="733"/>
                    </a:moveTo>
                    <a:cubicBezTo>
                      <a:pt x="188" y="740"/>
                      <a:pt x="186" y="751"/>
                      <a:pt x="177" y="756"/>
                    </a:cubicBezTo>
                    <a:cubicBezTo>
                      <a:pt x="118" y="791"/>
                      <a:pt x="118" y="791"/>
                      <a:pt x="118" y="791"/>
                    </a:cubicBezTo>
                    <a:cubicBezTo>
                      <a:pt x="109" y="796"/>
                      <a:pt x="96" y="790"/>
                      <a:pt x="92" y="786"/>
                    </a:cubicBezTo>
                    <a:cubicBezTo>
                      <a:pt x="88" y="782"/>
                      <a:pt x="86" y="770"/>
                      <a:pt x="86" y="770"/>
                    </a:cubicBezTo>
                    <a:cubicBezTo>
                      <a:pt x="86" y="632"/>
                      <a:pt x="86" y="632"/>
                      <a:pt x="86" y="632"/>
                    </a:cubicBezTo>
                    <a:cubicBezTo>
                      <a:pt x="86" y="632"/>
                      <a:pt x="88" y="618"/>
                      <a:pt x="95" y="614"/>
                    </a:cubicBezTo>
                    <a:cubicBezTo>
                      <a:pt x="154" y="580"/>
                      <a:pt x="154" y="580"/>
                      <a:pt x="154" y="580"/>
                    </a:cubicBezTo>
                    <a:cubicBezTo>
                      <a:pt x="163" y="575"/>
                      <a:pt x="176" y="578"/>
                      <a:pt x="181" y="585"/>
                    </a:cubicBezTo>
                    <a:cubicBezTo>
                      <a:pt x="181" y="585"/>
                      <a:pt x="181" y="585"/>
                      <a:pt x="181" y="585"/>
                    </a:cubicBezTo>
                    <a:cubicBezTo>
                      <a:pt x="187" y="593"/>
                      <a:pt x="186" y="604"/>
                      <a:pt x="177" y="609"/>
                    </a:cubicBezTo>
                    <a:cubicBezTo>
                      <a:pt x="129" y="637"/>
                      <a:pt x="129" y="637"/>
                      <a:pt x="129" y="637"/>
                    </a:cubicBezTo>
                    <a:cubicBezTo>
                      <a:pt x="129" y="744"/>
                      <a:pt x="129" y="744"/>
                      <a:pt x="129" y="744"/>
                    </a:cubicBezTo>
                    <a:cubicBezTo>
                      <a:pt x="154" y="729"/>
                      <a:pt x="154" y="729"/>
                      <a:pt x="154" y="729"/>
                    </a:cubicBezTo>
                    <a:cubicBezTo>
                      <a:pt x="163" y="724"/>
                      <a:pt x="176" y="725"/>
                      <a:pt x="182" y="7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7" name="Rectangle 16"/>
            <p:cNvSpPr/>
            <p:nvPr/>
          </p:nvSpPr>
          <p:spPr>
            <a:xfrm>
              <a:off x="7998516" y="5249262"/>
              <a:ext cx="1396563" cy="558780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Load Balancer</a:t>
              </a:r>
            </a:p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Public IP</a:t>
              </a:r>
            </a:p>
          </p:txBody>
        </p:sp>
        <p:cxnSp>
          <p:nvCxnSpPr>
            <p:cNvPr id="18" name="Elbow Connector 17"/>
            <p:cNvCxnSpPr>
              <a:endCxn id="56" idx="3"/>
            </p:cNvCxnSpPr>
            <p:nvPr/>
          </p:nvCxnSpPr>
          <p:spPr>
            <a:xfrm rot="10800000">
              <a:off x="4057267" y="3598877"/>
              <a:ext cx="5063046" cy="1375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/>
            <p:cNvSpPr/>
            <p:nvPr/>
          </p:nvSpPr>
          <p:spPr>
            <a:xfrm>
              <a:off x="5459222" y="3606407"/>
              <a:ext cx="2155120" cy="340097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On Premises Resources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10436255" y="3073313"/>
              <a:ext cx="479392" cy="712232"/>
              <a:chOff x="4610325" y="6858496"/>
              <a:chExt cx="479392" cy="712232"/>
            </a:xfrm>
          </p:grpSpPr>
          <p:pic>
            <p:nvPicPr>
              <p:cNvPr id="83" name="Picture 6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lum bright="100000"/>
              </a:blip>
              <a:srcRect l="24157" r="25929"/>
              <a:stretch/>
            </p:blipFill>
            <p:spPr bwMode="auto">
              <a:xfrm>
                <a:off x="4610325" y="6858496"/>
                <a:ext cx="355510" cy="712232"/>
              </a:xfrm>
              <a:prstGeom prst="rect">
                <a:avLst/>
              </a:prstGeom>
              <a:noFill/>
            </p:spPr>
          </p:pic>
          <p:sp>
            <p:nvSpPr>
              <p:cNvPr id="84" name="Isosceles Triangle 83"/>
              <p:cNvSpPr/>
              <p:nvPr/>
            </p:nvSpPr>
            <p:spPr bwMode="auto">
              <a:xfrm>
                <a:off x="4883537" y="7331187"/>
                <a:ext cx="206180" cy="17774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5" name="Rectangle 84"/>
              <p:cNvSpPr/>
              <p:nvPr/>
            </p:nvSpPr>
            <p:spPr bwMode="auto">
              <a:xfrm>
                <a:off x="4883537" y="7416936"/>
                <a:ext cx="206180" cy="2634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6" name="Rectangle 85"/>
              <p:cNvSpPr/>
              <p:nvPr/>
            </p:nvSpPr>
            <p:spPr bwMode="auto">
              <a:xfrm rot="16200000">
                <a:off x="4928054" y="7465866"/>
                <a:ext cx="117146" cy="263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7" name="Isosceles Triangle 86"/>
              <p:cNvSpPr/>
              <p:nvPr/>
            </p:nvSpPr>
            <p:spPr bwMode="auto">
              <a:xfrm>
                <a:off x="4942260" y="7396152"/>
                <a:ext cx="88734" cy="7649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1" name="Rectangle 20"/>
            <p:cNvSpPr/>
            <p:nvPr/>
          </p:nvSpPr>
          <p:spPr>
            <a:xfrm>
              <a:off x="10673240" y="3397411"/>
              <a:ext cx="1004249" cy="340097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AD / DNS</a:t>
              </a:r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 flipV="1">
              <a:off x="10186920" y="3730231"/>
              <a:ext cx="372682" cy="511400"/>
            </a:xfrm>
            <a:prstGeom prst="straightConnector1">
              <a:avLst/>
            </a:prstGeom>
            <a:ln w="25400"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/>
            <p:cNvSpPr/>
            <p:nvPr/>
          </p:nvSpPr>
          <p:spPr>
            <a:xfrm>
              <a:off x="10233876" y="3887403"/>
              <a:ext cx="928317" cy="340097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</a:rPr>
                <a:t>AD </a:t>
              </a:r>
              <a:r>
                <a:rPr lang="en-US" sz="1200" dirty="0" err="1">
                  <a:solidFill>
                    <a:schemeClr val="bg1"/>
                  </a:solidFill>
                  <a:latin typeface="Calibri" panose="020F0502020204030204" pitchFamily="34" charset="0"/>
                </a:rPr>
                <a:t>Auth</a:t>
              </a: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24" name="Straight Arrow Connector 23"/>
            <p:cNvCxnSpPr>
              <a:endCxn id="84" idx="3"/>
            </p:cNvCxnSpPr>
            <p:nvPr/>
          </p:nvCxnSpPr>
          <p:spPr>
            <a:xfrm flipH="1" flipV="1">
              <a:off x="10812557" y="3723765"/>
              <a:ext cx="362804" cy="458777"/>
            </a:xfrm>
            <a:prstGeom prst="straightConnector1">
              <a:avLst/>
            </a:prstGeom>
            <a:ln w="25400"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/>
            <p:cNvSpPr/>
            <p:nvPr/>
          </p:nvSpPr>
          <p:spPr>
            <a:xfrm>
              <a:off x="5499240" y="3085675"/>
              <a:ext cx="2166088" cy="340097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Site to Site VPN Tunnel</a:t>
              </a:r>
            </a:p>
          </p:txBody>
        </p:sp>
        <p:cxnSp>
          <p:nvCxnSpPr>
            <p:cNvPr id="26" name="Straight Arrow Connector 25"/>
            <p:cNvCxnSpPr/>
            <p:nvPr/>
          </p:nvCxnSpPr>
          <p:spPr>
            <a:xfrm flipH="1" flipV="1">
              <a:off x="9827698" y="3693856"/>
              <a:ext cx="359222" cy="485637"/>
            </a:xfrm>
            <a:prstGeom prst="straightConnector1">
              <a:avLst/>
            </a:prstGeom>
            <a:ln w="25400"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/>
            <p:cNvGrpSpPr/>
            <p:nvPr/>
          </p:nvGrpSpPr>
          <p:grpSpPr>
            <a:xfrm>
              <a:off x="382773" y="1562987"/>
              <a:ext cx="4550553" cy="4529489"/>
              <a:chOff x="382773" y="1562987"/>
              <a:chExt cx="4550553" cy="4529489"/>
            </a:xfrm>
          </p:grpSpPr>
          <p:grpSp>
            <p:nvGrpSpPr>
              <p:cNvPr id="30" name="Group 29"/>
              <p:cNvGrpSpPr/>
              <p:nvPr/>
            </p:nvGrpSpPr>
            <p:grpSpPr>
              <a:xfrm>
                <a:off x="591318" y="1865904"/>
                <a:ext cx="3465948" cy="3525706"/>
                <a:chOff x="897789" y="1992744"/>
                <a:chExt cx="3465948" cy="3525703"/>
              </a:xfrm>
            </p:grpSpPr>
            <p:sp>
              <p:nvSpPr>
                <p:cNvPr id="56" name="Rectangle 55"/>
                <p:cNvSpPr/>
                <p:nvPr/>
              </p:nvSpPr>
              <p:spPr bwMode="auto">
                <a:xfrm>
                  <a:off x="897789" y="1992744"/>
                  <a:ext cx="3465948" cy="346594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600" dirty="0" err="1" smtClean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Contoso</a:t>
                  </a:r>
                  <a:r>
                    <a:rPr lang="en-US" sz="1600" dirty="0" smtClean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 Corp Network</a:t>
                  </a:r>
                  <a:endParaRPr lang="en-US" sz="16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pic>
              <p:nvPicPr>
                <p:cNvPr id="57" name="Picture 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100000" contrast="100000"/>
                </a:blip>
                <a:srcRect/>
                <a:stretch>
                  <a:fillRect/>
                </a:stretch>
              </p:blipFill>
              <p:spPr bwMode="auto">
                <a:xfrm>
                  <a:off x="3298179" y="4442923"/>
                  <a:ext cx="965110" cy="8842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grpSp>
              <p:nvGrpSpPr>
                <p:cNvPr id="58" name="Group 57"/>
                <p:cNvGrpSpPr/>
                <p:nvPr/>
              </p:nvGrpSpPr>
              <p:grpSpPr>
                <a:xfrm>
                  <a:off x="2717713" y="2401459"/>
                  <a:ext cx="869945" cy="629380"/>
                  <a:chOff x="2870782" y="2512291"/>
                  <a:chExt cx="791194" cy="572406"/>
                </a:xfrm>
              </p:grpSpPr>
              <p:pic>
                <p:nvPicPr>
                  <p:cNvPr id="81" name="Picture 2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" cstate="print">
                    <a:lum bright="100000" contrast="100000"/>
                  </a:blip>
                  <a:srcRect l="9422" t="9591" r="8195" b="13220"/>
                  <a:stretch/>
                </p:blipFill>
                <p:spPr bwMode="auto">
                  <a:xfrm>
                    <a:off x="2870782" y="2512291"/>
                    <a:ext cx="666746" cy="572406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</p:pic>
              <p:sp>
                <p:nvSpPr>
                  <p:cNvPr id="82" name="Freeform 6"/>
                  <p:cNvSpPr>
                    <a:spLocks noChangeAspect="1" noEditPoints="1"/>
                  </p:cNvSpPr>
                  <p:nvPr/>
                </p:nvSpPr>
                <p:spPr bwMode="black">
                  <a:xfrm>
                    <a:off x="3363172" y="2782146"/>
                    <a:ext cx="298804" cy="302551"/>
                  </a:xfrm>
                  <a:custGeom>
                    <a:avLst/>
                    <a:gdLst>
                      <a:gd name="T0" fmla="*/ 84 w 84"/>
                      <a:gd name="T1" fmla="*/ 43 h 85"/>
                      <a:gd name="T2" fmla="*/ 0 w 84"/>
                      <a:gd name="T3" fmla="*/ 43 h 85"/>
                      <a:gd name="T4" fmla="*/ 76 w 84"/>
                      <a:gd name="T5" fmla="*/ 27 h 85"/>
                      <a:gd name="T6" fmla="*/ 65 w 84"/>
                      <a:gd name="T7" fmla="*/ 40 h 85"/>
                      <a:gd name="T8" fmla="*/ 76 w 84"/>
                      <a:gd name="T9" fmla="*/ 27 h 85"/>
                      <a:gd name="T10" fmla="*/ 45 w 84"/>
                      <a:gd name="T11" fmla="*/ 27 h 85"/>
                      <a:gd name="T12" fmla="*/ 62 w 84"/>
                      <a:gd name="T13" fmla="*/ 40 h 85"/>
                      <a:gd name="T14" fmla="*/ 40 w 84"/>
                      <a:gd name="T15" fmla="*/ 27 h 85"/>
                      <a:gd name="T16" fmla="*/ 21 w 84"/>
                      <a:gd name="T17" fmla="*/ 40 h 85"/>
                      <a:gd name="T18" fmla="*/ 40 w 84"/>
                      <a:gd name="T19" fmla="*/ 27 h 85"/>
                      <a:gd name="T20" fmla="*/ 8 w 84"/>
                      <a:gd name="T21" fmla="*/ 27 h 85"/>
                      <a:gd name="T22" fmla="*/ 19 w 84"/>
                      <a:gd name="T23" fmla="*/ 40 h 85"/>
                      <a:gd name="T24" fmla="*/ 10 w 84"/>
                      <a:gd name="T25" fmla="*/ 21 h 85"/>
                      <a:gd name="T26" fmla="*/ 30 w 84"/>
                      <a:gd name="T27" fmla="*/ 6 h 85"/>
                      <a:gd name="T28" fmla="*/ 25 w 84"/>
                      <a:gd name="T29" fmla="*/ 21 h 85"/>
                      <a:gd name="T30" fmla="*/ 40 w 84"/>
                      <a:gd name="T31" fmla="*/ 4 h 85"/>
                      <a:gd name="T32" fmla="*/ 45 w 84"/>
                      <a:gd name="T33" fmla="*/ 21 h 85"/>
                      <a:gd name="T34" fmla="*/ 45 w 84"/>
                      <a:gd name="T35" fmla="*/ 5 h 85"/>
                      <a:gd name="T36" fmla="*/ 62 w 84"/>
                      <a:gd name="T37" fmla="*/ 21 h 85"/>
                      <a:gd name="T38" fmla="*/ 54 w 84"/>
                      <a:gd name="T39" fmla="*/ 6 h 85"/>
                      <a:gd name="T40" fmla="*/ 80 w 84"/>
                      <a:gd name="T41" fmla="*/ 45 h 85"/>
                      <a:gd name="T42" fmla="*/ 63 w 84"/>
                      <a:gd name="T43" fmla="*/ 59 h 85"/>
                      <a:gd name="T44" fmla="*/ 80 w 84"/>
                      <a:gd name="T45" fmla="*/ 45 h 85"/>
                      <a:gd name="T46" fmla="*/ 45 w 84"/>
                      <a:gd name="T47" fmla="*/ 45 h 85"/>
                      <a:gd name="T48" fmla="*/ 61 w 84"/>
                      <a:gd name="T49" fmla="*/ 59 h 85"/>
                      <a:gd name="T50" fmla="*/ 40 w 84"/>
                      <a:gd name="T51" fmla="*/ 45 h 85"/>
                      <a:gd name="T52" fmla="*/ 23 w 84"/>
                      <a:gd name="T53" fmla="*/ 59 h 85"/>
                      <a:gd name="T54" fmla="*/ 40 w 84"/>
                      <a:gd name="T55" fmla="*/ 45 h 85"/>
                      <a:gd name="T56" fmla="*/ 4 w 84"/>
                      <a:gd name="T57" fmla="*/ 45 h 85"/>
                      <a:gd name="T58" fmla="*/ 21 w 84"/>
                      <a:gd name="T59" fmla="*/ 59 h 85"/>
                      <a:gd name="T60" fmla="*/ 45 w 84"/>
                      <a:gd name="T61" fmla="*/ 64 h 85"/>
                      <a:gd name="T62" fmla="*/ 59 w 84"/>
                      <a:gd name="T63" fmla="*/ 64 h 85"/>
                      <a:gd name="T64" fmla="*/ 40 w 84"/>
                      <a:gd name="T65" fmla="*/ 81 h 85"/>
                      <a:gd name="T66" fmla="*/ 25 w 84"/>
                      <a:gd name="T67" fmla="*/ 64 h 85"/>
                      <a:gd name="T68" fmla="*/ 73 w 84"/>
                      <a:gd name="T69" fmla="*/ 64 h 85"/>
                      <a:gd name="T70" fmla="*/ 54 w 84"/>
                      <a:gd name="T71" fmla="*/ 79 h 85"/>
                      <a:gd name="T72" fmla="*/ 22 w 84"/>
                      <a:gd name="T73" fmla="*/ 64 h 85"/>
                      <a:gd name="T74" fmla="*/ 30 w 84"/>
                      <a:gd name="T75" fmla="*/ 79 h 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84" h="85">
                        <a:moveTo>
                          <a:pt x="42" y="0"/>
                        </a:moveTo>
                        <a:cubicBezTo>
                          <a:pt x="65" y="0"/>
                          <a:pt x="84" y="19"/>
                          <a:pt x="84" y="43"/>
                        </a:cubicBezTo>
                        <a:cubicBezTo>
                          <a:pt x="84" y="66"/>
                          <a:pt x="65" y="85"/>
                          <a:pt x="42" y="85"/>
                        </a:cubicBezTo>
                        <a:cubicBezTo>
                          <a:pt x="19" y="85"/>
                          <a:pt x="0" y="66"/>
                          <a:pt x="0" y="43"/>
                        </a:cubicBezTo>
                        <a:cubicBezTo>
                          <a:pt x="0" y="19"/>
                          <a:pt x="19" y="0"/>
                          <a:pt x="42" y="0"/>
                        </a:cubicBezTo>
                        <a:close/>
                        <a:moveTo>
                          <a:pt x="76" y="27"/>
                        </a:moveTo>
                        <a:cubicBezTo>
                          <a:pt x="63" y="27"/>
                          <a:pt x="63" y="27"/>
                          <a:pt x="63" y="27"/>
                        </a:cubicBezTo>
                        <a:cubicBezTo>
                          <a:pt x="64" y="31"/>
                          <a:pt x="65" y="35"/>
                          <a:pt x="65" y="40"/>
                        </a:cubicBezTo>
                        <a:cubicBezTo>
                          <a:pt x="80" y="40"/>
                          <a:pt x="80" y="40"/>
                          <a:pt x="80" y="40"/>
                        </a:cubicBezTo>
                        <a:cubicBezTo>
                          <a:pt x="79" y="35"/>
                          <a:pt x="78" y="31"/>
                          <a:pt x="76" y="27"/>
                        </a:cubicBezTo>
                        <a:close/>
                        <a:moveTo>
                          <a:pt x="61" y="27"/>
                        </a:moveTo>
                        <a:cubicBezTo>
                          <a:pt x="45" y="27"/>
                          <a:pt x="45" y="27"/>
                          <a:pt x="45" y="27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62" y="40"/>
                          <a:pt x="62" y="40"/>
                          <a:pt x="62" y="40"/>
                        </a:cubicBezTo>
                        <a:cubicBezTo>
                          <a:pt x="62" y="35"/>
                          <a:pt x="62" y="31"/>
                          <a:pt x="61" y="27"/>
                        </a:cubicBezTo>
                        <a:close/>
                        <a:moveTo>
                          <a:pt x="40" y="27"/>
                        </a:moveTo>
                        <a:cubicBezTo>
                          <a:pt x="23" y="27"/>
                          <a:pt x="23" y="27"/>
                          <a:pt x="23" y="27"/>
                        </a:cubicBezTo>
                        <a:cubicBezTo>
                          <a:pt x="22" y="31"/>
                          <a:pt x="22" y="35"/>
                          <a:pt x="21" y="40"/>
                        </a:cubicBezTo>
                        <a:cubicBezTo>
                          <a:pt x="40" y="40"/>
                          <a:pt x="40" y="40"/>
                          <a:pt x="40" y="40"/>
                        </a:cubicBezTo>
                        <a:cubicBezTo>
                          <a:pt x="40" y="27"/>
                          <a:pt x="40" y="27"/>
                          <a:pt x="40" y="27"/>
                        </a:cubicBezTo>
                        <a:close/>
                        <a:moveTo>
                          <a:pt x="21" y="27"/>
                        </a:moveTo>
                        <a:cubicBezTo>
                          <a:pt x="8" y="27"/>
                          <a:pt x="8" y="27"/>
                          <a:pt x="8" y="27"/>
                        </a:cubicBezTo>
                        <a:cubicBezTo>
                          <a:pt x="6" y="31"/>
                          <a:pt x="5" y="35"/>
                          <a:pt x="4" y="40"/>
                        </a:cubicBezTo>
                        <a:cubicBezTo>
                          <a:pt x="19" y="40"/>
                          <a:pt x="19" y="40"/>
                          <a:pt x="19" y="40"/>
                        </a:cubicBezTo>
                        <a:cubicBezTo>
                          <a:pt x="19" y="35"/>
                          <a:pt x="20" y="31"/>
                          <a:pt x="21" y="27"/>
                        </a:cubicBezTo>
                        <a:close/>
                        <a:moveTo>
                          <a:pt x="10" y="21"/>
                        </a:moveTo>
                        <a:cubicBezTo>
                          <a:pt x="22" y="21"/>
                          <a:pt x="22" y="21"/>
                          <a:pt x="22" y="21"/>
                        </a:cubicBezTo>
                        <a:cubicBezTo>
                          <a:pt x="24" y="15"/>
                          <a:pt x="27" y="10"/>
                          <a:pt x="30" y="6"/>
                        </a:cubicBezTo>
                        <a:cubicBezTo>
                          <a:pt x="22" y="9"/>
                          <a:pt x="15" y="14"/>
                          <a:pt x="10" y="21"/>
                        </a:cubicBezTo>
                        <a:close/>
                        <a:moveTo>
                          <a:pt x="25" y="21"/>
                        </a:moveTo>
                        <a:cubicBezTo>
                          <a:pt x="40" y="21"/>
                          <a:pt x="40" y="21"/>
                          <a:pt x="40" y="21"/>
                        </a:cubicBezTo>
                        <a:cubicBezTo>
                          <a:pt x="40" y="4"/>
                          <a:pt x="40" y="4"/>
                          <a:pt x="40" y="4"/>
                        </a:cubicBezTo>
                        <a:cubicBezTo>
                          <a:pt x="33" y="6"/>
                          <a:pt x="28" y="12"/>
                          <a:pt x="25" y="21"/>
                        </a:cubicBezTo>
                        <a:close/>
                        <a:moveTo>
                          <a:pt x="45" y="21"/>
                        </a:moveTo>
                        <a:cubicBezTo>
                          <a:pt x="59" y="21"/>
                          <a:pt x="59" y="21"/>
                          <a:pt x="59" y="21"/>
                        </a:cubicBezTo>
                        <a:cubicBezTo>
                          <a:pt x="56" y="12"/>
                          <a:pt x="51" y="6"/>
                          <a:pt x="45" y="5"/>
                        </a:cubicBezTo>
                        <a:cubicBezTo>
                          <a:pt x="45" y="21"/>
                          <a:pt x="45" y="21"/>
                          <a:pt x="45" y="21"/>
                        </a:cubicBezTo>
                        <a:close/>
                        <a:moveTo>
                          <a:pt x="62" y="21"/>
                        </a:moveTo>
                        <a:cubicBezTo>
                          <a:pt x="73" y="21"/>
                          <a:pt x="73" y="21"/>
                          <a:pt x="73" y="21"/>
                        </a:cubicBezTo>
                        <a:cubicBezTo>
                          <a:pt x="69" y="14"/>
                          <a:pt x="62" y="9"/>
                          <a:pt x="54" y="6"/>
                        </a:cubicBezTo>
                        <a:cubicBezTo>
                          <a:pt x="57" y="10"/>
                          <a:pt x="60" y="15"/>
                          <a:pt x="62" y="21"/>
                        </a:cubicBezTo>
                        <a:close/>
                        <a:moveTo>
                          <a:pt x="80" y="45"/>
                        </a:moveTo>
                        <a:cubicBezTo>
                          <a:pt x="65" y="45"/>
                          <a:pt x="65" y="45"/>
                          <a:pt x="65" y="45"/>
                        </a:cubicBezTo>
                        <a:cubicBezTo>
                          <a:pt x="65" y="50"/>
                          <a:pt x="64" y="54"/>
                          <a:pt x="63" y="59"/>
                        </a:cubicBezTo>
                        <a:cubicBezTo>
                          <a:pt x="76" y="59"/>
                          <a:pt x="76" y="59"/>
                          <a:pt x="76" y="59"/>
                        </a:cubicBezTo>
                        <a:cubicBezTo>
                          <a:pt x="78" y="54"/>
                          <a:pt x="79" y="50"/>
                          <a:pt x="80" y="45"/>
                        </a:cubicBezTo>
                        <a:close/>
                        <a:moveTo>
                          <a:pt x="62" y="45"/>
                        </a:move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59"/>
                          <a:pt x="45" y="59"/>
                          <a:pt x="45" y="59"/>
                        </a:cubicBezTo>
                        <a:cubicBezTo>
                          <a:pt x="61" y="59"/>
                          <a:pt x="61" y="59"/>
                          <a:pt x="61" y="59"/>
                        </a:cubicBezTo>
                        <a:cubicBezTo>
                          <a:pt x="62" y="54"/>
                          <a:pt x="62" y="50"/>
                          <a:pt x="62" y="45"/>
                        </a:cubicBezTo>
                        <a:close/>
                        <a:moveTo>
                          <a:pt x="40" y="45"/>
                        </a:moveTo>
                        <a:cubicBezTo>
                          <a:pt x="21" y="45"/>
                          <a:pt x="21" y="45"/>
                          <a:pt x="21" y="45"/>
                        </a:cubicBezTo>
                        <a:cubicBezTo>
                          <a:pt x="22" y="50"/>
                          <a:pt x="22" y="54"/>
                          <a:pt x="23" y="59"/>
                        </a:cubicBezTo>
                        <a:cubicBezTo>
                          <a:pt x="40" y="59"/>
                          <a:pt x="40" y="59"/>
                          <a:pt x="40" y="59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lose/>
                        <a:moveTo>
                          <a:pt x="19" y="45"/>
                        </a:moveTo>
                        <a:cubicBezTo>
                          <a:pt x="4" y="45"/>
                          <a:pt x="4" y="45"/>
                          <a:pt x="4" y="45"/>
                        </a:cubicBezTo>
                        <a:cubicBezTo>
                          <a:pt x="5" y="50"/>
                          <a:pt x="6" y="54"/>
                          <a:pt x="8" y="59"/>
                        </a:cubicBezTo>
                        <a:cubicBezTo>
                          <a:pt x="21" y="59"/>
                          <a:pt x="21" y="59"/>
                          <a:pt x="21" y="59"/>
                        </a:cubicBezTo>
                        <a:cubicBezTo>
                          <a:pt x="20" y="54"/>
                          <a:pt x="19" y="50"/>
                          <a:pt x="19" y="45"/>
                        </a:cubicBezTo>
                        <a:close/>
                        <a:moveTo>
                          <a:pt x="45" y="64"/>
                        </a:moveTo>
                        <a:cubicBezTo>
                          <a:pt x="45" y="81"/>
                          <a:pt x="45" y="81"/>
                          <a:pt x="45" y="81"/>
                        </a:cubicBezTo>
                        <a:cubicBezTo>
                          <a:pt x="51" y="79"/>
                          <a:pt x="56" y="73"/>
                          <a:pt x="59" y="64"/>
                        </a:cubicBezTo>
                        <a:cubicBezTo>
                          <a:pt x="45" y="64"/>
                          <a:pt x="45" y="64"/>
                          <a:pt x="45" y="64"/>
                        </a:cubicBezTo>
                        <a:close/>
                        <a:moveTo>
                          <a:pt x="40" y="81"/>
                        </a:moveTo>
                        <a:cubicBezTo>
                          <a:pt x="40" y="64"/>
                          <a:pt x="40" y="64"/>
                          <a:pt x="40" y="64"/>
                        </a:cubicBezTo>
                        <a:cubicBezTo>
                          <a:pt x="25" y="64"/>
                          <a:pt x="25" y="64"/>
                          <a:pt x="25" y="64"/>
                        </a:cubicBezTo>
                        <a:cubicBezTo>
                          <a:pt x="28" y="73"/>
                          <a:pt x="33" y="79"/>
                          <a:pt x="40" y="81"/>
                        </a:cubicBezTo>
                        <a:close/>
                        <a:moveTo>
                          <a:pt x="73" y="64"/>
                        </a:moveTo>
                        <a:cubicBezTo>
                          <a:pt x="62" y="64"/>
                          <a:pt x="62" y="64"/>
                          <a:pt x="62" y="64"/>
                        </a:cubicBezTo>
                        <a:cubicBezTo>
                          <a:pt x="60" y="70"/>
                          <a:pt x="57" y="75"/>
                          <a:pt x="54" y="79"/>
                        </a:cubicBezTo>
                        <a:cubicBezTo>
                          <a:pt x="62" y="76"/>
                          <a:pt x="69" y="71"/>
                          <a:pt x="73" y="64"/>
                        </a:cubicBezTo>
                        <a:close/>
                        <a:moveTo>
                          <a:pt x="22" y="64"/>
                        </a:moveTo>
                        <a:cubicBezTo>
                          <a:pt x="11" y="64"/>
                          <a:pt x="11" y="64"/>
                          <a:pt x="11" y="64"/>
                        </a:cubicBezTo>
                        <a:cubicBezTo>
                          <a:pt x="15" y="71"/>
                          <a:pt x="22" y="76"/>
                          <a:pt x="30" y="79"/>
                        </a:cubicBezTo>
                        <a:cubicBezTo>
                          <a:pt x="27" y="75"/>
                          <a:pt x="24" y="70"/>
                          <a:pt x="22" y="6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793"/>
                    <a:endParaRPr lang="en-US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59" name="Rectangle 58"/>
                <p:cNvSpPr/>
                <p:nvPr/>
              </p:nvSpPr>
              <p:spPr>
                <a:xfrm>
                  <a:off x="2610972" y="2988957"/>
                  <a:ext cx="1085234" cy="34017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IIS Servers</a:t>
                  </a:r>
                </a:p>
              </p:txBody>
            </p:sp>
            <p:grpSp>
              <p:nvGrpSpPr>
                <p:cNvPr id="60" name="Group 59"/>
                <p:cNvGrpSpPr/>
                <p:nvPr/>
              </p:nvGrpSpPr>
              <p:grpSpPr>
                <a:xfrm>
                  <a:off x="2128560" y="3451570"/>
                  <a:ext cx="1004410" cy="1013885"/>
                  <a:chOff x="1648325" y="3451570"/>
                  <a:chExt cx="1004410" cy="1013885"/>
                </a:xfrm>
              </p:grpSpPr>
              <p:grpSp>
                <p:nvGrpSpPr>
                  <p:cNvPr id="72" name="Group 71"/>
                  <p:cNvGrpSpPr/>
                  <p:nvPr/>
                </p:nvGrpSpPr>
                <p:grpSpPr>
                  <a:xfrm>
                    <a:off x="1972774" y="3451570"/>
                    <a:ext cx="479392" cy="712232"/>
                    <a:chOff x="1972774" y="3451570"/>
                    <a:chExt cx="479392" cy="712232"/>
                  </a:xfrm>
                </p:grpSpPr>
                <p:pic>
                  <p:nvPicPr>
                    <p:cNvPr id="74" name="Picture 6" descr="\\magnum\Projects\Microsoft\Cloud Power FY12\Design\Icons\PNGs\Server_2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lum bright="100000"/>
                    </a:blip>
                    <a:srcRect l="24157" r="25929"/>
                    <a:stretch/>
                  </p:blipFill>
                  <p:spPr bwMode="auto">
                    <a:xfrm>
                      <a:off x="1972774" y="3451570"/>
                      <a:ext cx="355510" cy="712232"/>
                    </a:xfrm>
                    <a:prstGeom prst="rect">
                      <a:avLst/>
                    </a:prstGeom>
                    <a:noFill/>
                  </p:spPr>
                </p:pic>
                <p:grpSp>
                  <p:nvGrpSpPr>
                    <p:cNvPr id="75" name="Group 74"/>
                    <p:cNvGrpSpPr/>
                    <p:nvPr/>
                  </p:nvGrpSpPr>
                  <p:grpSpPr>
                    <a:xfrm>
                      <a:off x="2245986" y="3924261"/>
                      <a:ext cx="206180" cy="206424"/>
                      <a:chOff x="2245986" y="3924261"/>
                      <a:chExt cx="206180" cy="206424"/>
                    </a:xfrm>
                  </p:grpSpPr>
                  <p:grpSp>
                    <p:nvGrpSpPr>
                      <p:cNvPr id="76" name="Group 75"/>
                      <p:cNvGrpSpPr/>
                      <p:nvPr/>
                    </p:nvGrpSpPr>
                    <p:grpSpPr>
                      <a:xfrm>
                        <a:off x="2245986" y="3924261"/>
                        <a:ext cx="206180" cy="206424"/>
                        <a:chOff x="1779323" y="4627897"/>
                        <a:chExt cx="472764" cy="473323"/>
                      </a:xfrm>
                    </p:grpSpPr>
                    <p:sp>
                      <p:nvSpPr>
                        <p:cNvPr id="78" name="Isosceles Triangle 77"/>
                        <p:cNvSpPr/>
                        <p:nvPr/>
                      </p:nvSpPr>
                      <p:spPr bwMode="auto">
                        <a:xfrm>
                          <a:off x="1779323" y="4627897"/>
                          <a:ext cx="472764" cy="407555"/>
                        </a:xfrm>
                        <a:prstGeom prst="triangle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vert="horz" wrap="square" lIns="91436" tIns="45718" rIns="91436" bIns="45718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algn="ctr" defTabSz="913529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300" dirty="0">
                            <a:solidFill>
                              <a:schemeClr val="bg1"/>
                            </a:solidFill>
                            <a:latin typeface="Calibri" panose="020F0502020204030204" pitchFamily="34" charset="0"/>
                          </a:endParaRPr>
                        </a:p>
                      </p:txBody>
                    </p:sp>
                    <p:sp>
                      <p:nvSpPr>
                        <p:cNvPr id="79" name="Rectangle 78"/>
                        <p:cNvSpPr/>
                        <p:nvPr/>
                      </p:nvSpPr>
                      <p:spPr bwMode="auto">
                        <a:xfrm>
                          <a:off x="1779323" y="4824517"/>
                          <a:ext cx="472764" cy="60401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vert="horz" wrap="square" lIns="91436" tIns="45718" rIns="91436" bIns="45718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algn="ctr" defTabSz="913529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300" dirty="0">
                            <a:solidFill>
                              <a:schemeClr val="bg1"/>
                            </a:solidFill>
                            <a:latin typeface="Calibri" panose="020F0502020204030204" pitchFamily="34" charset="0"/>
                          </a:endParaRPr>
                        </a:p>
                      </p:txBody>
                    </p:sp>
                    <p:sp>
                      <p:nvSpPr>
                        <p:cNvPr id="80" name="Rectangle 79"/>
                        <p:cNvSpPr/>
                        <p:nvPr/>
                      </p:nvSpPr>
                      <p:spPr bwMode="auto">
                        <a:xfrm rot="16200000">
                          <a:off x="1881399" y="4936712"/>
                          <a:ext cx="268612" cy="60403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  <a:headEnd type="none" w="med" len="med"/>
                          <a:tailEnd type="none" w="med" len="med"/>
                        </a:ln>
                        <a:effectLst/>
                      </p:spPr>
                      <p:style>
                        <a:lnRef idx="1">
                          <a:schemeClr val="accent2"/>
                        </a:lnRef>
                        <a:fillRef idx="3">
                          <a:schemeClr val="accent2"/>
                        </a:fillRef>
                        <a:effectRef idx="2">
                          <a:schemeClr val="accent2"/>
                        </a:effectRef>
                        <a:fontRef idx="minor">
                          <a:schemeClr val="lt1"/>
                        </a:fontRef>
                      </p:style>
                      <p:txBody>
                        <a:bodyPr vert="horz" wrap="square" lIns="91436" tIns="45718" rIns="91436" bIns="45718" numCol="1" rtlCol="0" anchor="ctr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algn="ctr" defTabSz="913529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en-US" sz="2300" dirty="0">
                            <a:solidFill>
                              <a:schemeClr val="bg1"/>
                            </a:solidFill>
                            <a:latin typeface="Calibri" panose="020F0502020204030204" pitchFamily="34" charset="0"/>
                          </a:endParaRPr>
                        </a:p>
                      </p:txBody>
                    </p:sp>
                  </p:grpSp>
                  <p:sp>
                    <p:nvSpPr>
                      <p:cNvPr id="77" name="Isosceles Triangle 76"/>
                      <p:cNvSpPr/>
                      <p:nvPr/>
                    </p:nvSpPr>
                    <p:spPr bwMode="auto">
                      <a:xfrm>
                        <a:off x="2304709" y="3989226"/>
                        <a:ext cx="88734" cy="76495"/>
                      </a:xfrm>
                      <a:prstGeom prst="triangle">
                        <a:avLst/>
                      </a:prstGeom>
                      <a:solidFill>
                        <a:schemeClr val="accent2"/>
                      </a:solidFill>
                      <a:ln>
                        <a:noFill/>
                        <a:headEnd type="none" w="med" len="med"/>
                        <a:tailEnd type="none" w="med" len="med"/>
                      </a:ln>
                      <a:effectLst/>
                    </p:spPr>
                    <p:style>
                      <a:lnRef idx="1">
                        <a:schemeClr val="accent2"/>
                      </a:lnRef>
                      <a:fillRef idx="3">
                        <a:schemeClr val="accent2"/>
                      </a:fillRef>
                      <a:effectRef idx="2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vert="horz" wrap="square" lIns="91436" tIns="45718" rIns="91436" bIns="45718" numCol="1" rtlCol="0" anchor="ctr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algn="ctr" defTabSz="913529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en-US" sz="23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endParaRPr>
                      </a:p>
                    </p:txBody>
                  </p:sp>
                </p:grpSp>
              </p:grpSp>
              <p:sp>
                <p:nvSpPr>
                  <p:cNvPr id="73" name="Rectangle 72"/>
                  <p:cNvSpPr/>
                  <p:nvPr/>
                </p:nvSpPr>
                <p:spPr>
                  <a:xfrm>
                    <a:off x="1648325" y="4125281"/>
                    <a:ext cx="1004410" cy="34017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 defTabSz="913529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AD / DNS</a:t>
                    </a:r>
                  </a:p>
                </p:txBody>
              </p:sp>
            </p:grpSp>
            <p:pic>
              <p:nvPicPr>
                <p:cNvPr id="61" name="Picture 2"/>
                <p:cNvPicPr>
                  <a:picLocks noChangeAspect="1" noChangeArrowheads="1"/>
                </p:cNvPicPr>
                <p:nvPr/>
              </p:nvPicPr>
              <p:blipFill rotWithShape="1">
                <a:blip r:embed="rId2" cstate="print">
                  <a:lum bright="100000" contrast="100000"/>
                </a:blip>
                <a:srcRect l="9422" t="9591" r="8195" b="13220"/>
                <a:stretch/>
              </p:blipFill>
              <p:spPr bwMode="auto">
                <a:xfrm>
                  <a:off x="1521605" y="2369636"/>
                  <a:ext cx="733110" cy="6293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62" name="Rectangle 61"/>
                <p:cNvSpPr/>
                <p:nvPr/>
              </p:nvSpPr>
              <p:spPr>
                <a:xfrm>
                  <a:off x="1354754" y="2957133"/>
                  <a:ext cx="1205458" cy="34017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SQL Servers</a:t>
                  </a:r>
                </a:p>
              </p:txBody>
            </p:sp>
            <p:pic>
              <p:nvPicPr>
                <p:cNvPr id="63" name="Picture 2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clrChange>
                    <a:clrFrom>
                      <a:srgbClr val="4EB1E4"/>
                    </a:clrFrom>
                    <a:clrTo>
                      <a:srgbClr val="4EB1E4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60071" y="2677961"/>
                  <a:ext cx="333337" cy="30258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64" name="Group 63"/>
                <p:cNvGrpSpPr/>
                <p:nvPr/>
              </p:nvGrpSpPr>
              <p:grpSpPr>
                <a:xfrm>
                  <a:off x="2088966" y="4442923"/>
                  <a:ext cx="1024352" cy="1075524"/>
                  <a:chOff x="1750562" y="4442923"/>
                  <a:chExt cx="1024352" cy="1075524"/>
                </a:xfrm>
              </p:grpSpPr>
              <p:pic>
                <p:nvPicPr>
                  <p:cNvPr id="69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 contrast="10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09804" y="4442923"/>
                    <a:ext cx="965110" cy="8842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</p:pic>
              <p:sp>
                <p:nvSpPr>
                  <p:cNvPr id="70" name="Rectangle 69"/>
                  <p:cNvSpPr/>
                  <p:nvPr/>
                </p:nvSpPr>
                <p:spPr>
                  <a:xfrm>
                    <a:off x="1750562" y="5178274"/>
                    <a:ext cx="1015040" cy="340173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 defTabSz="913529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Exchange</a:t>
                    </a:r>
                  </a:p>
                </p:txBody>
              </p:sp>
              <p:sp>
                <p:nvSpPr>
                  <p:cNvPr id="71" name="Freeform 128"/>
                  <p:cNvSpPr>
                    <a:spLocks noEditPoints="1"/>
                  </p:cNvSpPr>
                  <p:nvPr/>
                </p:nvSpPr>
                <p:spPr bwMode="black">
                  <a:xfrm>
                    <a:off x="2433694" y="4961317"/>
                    <a:ext cx="322748" cy="225728"/>
                  </a:xfrm>
                  <a:custGeom>
                    <a:avLst/>
                    <a:gdLst>
                      <a:gd name="T0" fmla="*/ 7 w 300"/>
                      <a:gd name="T1" fmla="*/ 0 h 210"/>
                      <a:gd name="T2" fmla="*/ 293 w 300"/>
                      <a:gd name="T3" fmla="*/ 0 h 210"/>
                      <a:gd name="T4" fmla="*/ 150 w 300"/>
                      <a:gd name="T5" fmla="*/ 120 h 210"/>
                      <a:gd name="T6" fmla="*/ 7 w 300"/>
                      <a:gd name="T7" fmla="*/ 0 h 210"/>
                      <a:gd name="T8" fmla="*/ 153 w 300"/>
                      <a:gd name="T9" fmla="*/ 130 h 210"/>
                      <a:gd name="T10" fmla="*/ 153 w 300"/>
                      <a:gd name="T11" fmla="*/ 130 h 210"/>
                      <a:gd name="T12" fmla="*/ 153 w 300"/>
                      <a:gd name="T13" fmla="*/ 131 h 210"/>
                      <a:gd name="T14" fmla="*/ 152 w 300"/>
                      <a:gd name="T15" fmla="*/ 131 h 210"/>
                      <a:gd name="T16" fmla="*/ 152 w 300"/>
                      <a:gd name="T17" fmla="*/ 131 h 210"/>
                      <a:gd name="T18" fmla="*/ 151 w 300"/>
                      <a:gd name="T19" fmla="*/ 131 h 210"/>
                      <a:gd name="T20" fmla="*/ 151 w 300"/>
                      <a:gd name="T21" fmla="*/ 131 h 210"/>
                      <a:gd name="T22" fmla="*/ 150 w 300"/>
                      <a:gd name="T23" fmla="*/ 131 h 210"/>
                      <a:gd name="T24" fmla="*/ 150 w 300"/>
                      <a:gd name="T25" fmla="*/ 131 h 210"/>
                      <a:gd name="T26" fmla="*/ 150 w 300"/>
                      <a:gd name="T27" fmla="*/ 131 h 210"/>
                      <a:gd name="T28" fmla="*/ 149 w 300"/>
                      <a:gd name="T29" fmla="*/ 131 h 210"/>
                      <a:gd name="T30" fmla="*/ 149 w 300"/>
                      <a:gd name="T31" fmla="*/ 131 h 210"/>
                      <a:gd name="T32" fmla="*/ 148 w 300"/>
                      <a:gd name="T33" fmla="*/ 131 h 210"/>
                      <a:gd name="T34" fmla="*/ 148 w 300"/>
                      <a:gd name="T35" fmla="*/ 131 h 210"/>
                      <a:gd name="T36" fmla="*/ 147 w 300"/>
                      <a:gd name="T37" fmla="*/ 131 h 210"/>
                      <a:gd name="T38" fmla="*/ 147 w 300"/>
                      <a:gd name="T39" fmla="*/ 130 h 210"/>
                      <a:gd name="T40" fmla="*/ 147 w 300"/>
                      <a:gd name="T41" fmla="*/ 130 h 210"/>
                      <a:gd name="T42" fmla="*/ 125 w 300"/>
                      <a:gd name="T43" fmla="*/ 112 h 210"/>
                      <a:gd name="T44" fmla="*/ 8 w 300"/>
                      <a:gd name="T45" fmla="*/ 210 h 210"/>
                      <a:gd name="T46" fmla="*/ 293 w 300"/>
                      <a:gd name="T47" fmla="*/ 210 h 210"/>
                      <a:gd name="T48" fmla="*/ 175 w 300"/>
                      <a:gd name="T49" fmla="*/ 112 h 210"/>
                      <a:gd name="T50" fmla="*/ 153 w 300"/>
                      <a:gd name="T51" fmla="*/ 130 h 210"/>
                      <a:gd name="T52" fmla="*/ 0 w 300"/>
                      <a:gd name="T53" fmla="*/ 6 h 210"/>
                      <a:gd name="T54" fmla="*/ 0 w 300"/>
                      <a:gd name="T55" fmla="*/ 204 h 210"/>
                      <a:gd name="T56" fmla="*/ 118 w 300"/>
                      <a:gd name="T57" fmla="*/ 106 h 210"/>
                      <a:gd name="T58" fmla="*/ 0 w 300"/>
                      <a:gd name="T59" fmla="*/ 6 h 210"/>
                      <a:gd name="T60" fmla="*/ 182 w 300"/>
                      <a:gd name="T61" fmla="*/ 106 h 210"/>
                      <a:gd name="T62" fmla="*/ 300 w 300"/>
                      <a:gd name="T63" fmla="*/ 204 h 210"/>
                      <a:gd name="T64" fmla="*/ 300 w 300"/>
                      <a:gd name="T65" fmla="*/ 6 h 210"/>
                      <a:gd name="T66" fmla="*/ 182 w 300"/>
                      <a:gd name="T67" fmla="*/ 106 h 2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00" h="210">
                        <a:moveTo>
                          <a:pt x="7" y="0"/>
                        </a:moveTo>
                        <a:cubicBezTo>
                          <a:pt x="293" y="0"/>
                          <a:pt x="293" y="0"/>
                          <a:pt x="293" y="0"/>
                        </a:cubicBezTo>
                        <a:cubicBezTo>
                          <a:pt x="150" y="120"/>
                          <a:pt x="150" y="120"/>
                          <a:pt x="150" y="120"/>
                        </a:cubicBezTo>
                        <a:lnTo>
                          <a:pt x="7" y="0"/>
                        </a:lnTo>
                        <a:close/>
                        <a:moveTo>
                          <a:pt x="153" y="130"/>
                        </a:moveTo>
                        <a:cubicBezTo>
                          <a:pt x="153" y="130"/>
                          <a:pt x="153" y="130"/>
                          <a:pt x="153" y="130"/>
                        </a:cubicBezTo>
                        <a:cubicBezTo>
                          <a:pt x="153" y="130"/>
                          <a:pt x="153" y="130"/>
                          <a:pt x="153" y="131"/>
                        </a:cubicBezTo>
                        <a:cubicBezTo>
                          <a:pt x="153" y="131"/>
                          <a:pt x="152" y="131"/>
                          <a:pt x="152" y="131"/>
                        </a:cubicBezTo>
                        <a:cubicBezTo>
                          <a:pt x="152" y="131"/>
                          <a:pt x="152" y="131"/>
                          <a:pt x="152" y="131"/>
                        </a:cubicBezTo>
                        <a:cubicBezTo>
                          <a:pt x="152" y="131"/>
                          <a:pt x="151" y="131"/>
                          <a:pt x="151" y="131"/>
                        </a:cubicBezTo>
                        <a:cubicBezTo>
                          <a:pt x="151" y="131"/>
                          <a:pt x="151" y="131"/>
                          <a:pt x="151" y="131"/>
                        </a:cubicBezTo>
                        <a:cubicBezTo>
                          <a:pt x="151" y="131"/>
                          <a:pt x="150" y="131"/>
                          <a:pt x="150" y="131"/>
                        </a:cubicBezTo>
                        <a:cubicBezTo>
                          <a:pt x="150" y="131"/>
                          <a:pt x="150" y="131"/>
                          <a:pt x="150" y="131"/>
                        </a:cubicBezTo>
                        <a:cubicBezTo>
                          <a:pt x="150" y="131"/>
                          <a:pt x="150" y="131"/>
                          <a:pt x="150" y="131"/>
                        </a:cubicBezTo>
                        <a:cubicBezTo>
                          <a:pt x="150" y="131"/>
                          <a:pt x="149" y="131"/>
                          <a:pt x="149" y="131"/>
                        </a:cubicBezTo>
                        <a:cubicBezTo>
                          <a:pt x="149" y="131"/>
                          <a:pt x="149" y="131"/>
                          <a:pt x="149" y="131"/>
                        </a:cubicBezTo>
                        <a:cubicBezTo>
                          <a:pt x="149" y="131"/>
                          <a:pt x="148" y="131"/>
                          <a:pt x="148" y="131"/>
                        </a:cubicBezTo>
                        <a:cubicBezTo>
                          <a:pt x="148" y="131"/>
                          <a:pt x="148" y="131"/>
                          <a:pt x="148" y="131"/>
                        </a:cubicBezTo>
                        <a:cubicBezTo>
                          <a:pt x="148" y="131"/>
                          <a:pt x="148" y="131"/>
                          <a:pt x="147" y="131"/>
                        </a:cubicBezTo>
                        <a:cubicBezTo>
                          <a:pt x="147" y="130"/>
                          <a:pt x="147" y="130"/>
                          <a:pt x="147" y="130"/>
                        </a:cubicBezTo>
                        <a:cubicBezTo>
                          <a:pt x="147" y="130"/>
                          <a:pt x="147" y="130"/>
                          <a:pt x="147" y="130"/>
                        </a:cubicBezTo>
                        <a:cubicBezTo>
                          <a:pt x="125" y="112"/>
                          <a:pt x="125" y="112"/>
                          <a:pt x="125" y="112"/>
                        </a:cubicBezTo>
                        <a:cubicBezTo>
                          <a:pt x="8" y="210"/>
                          <a:pt x="8" y="210"/>
                          <a:pt x="8" y="210"/>
                        </a:cubicBezTo>
                        <a:cubicBezTo>
                          <a:pt x="293" y="210"/>
                          <a:pt x="293" y="210"/>
                          <a:pt x="293" y="210"/>
                        </a:cubicBezTo>
                        <a:cubicBezTo>
                          <a:pt x="175" y="112"/>
                          <a:pt x="175" y="112"/>
                          <a:pt x="175" y="112"/>
                        </a:cubicBezTo>
                        <a:lnTo>
                          <a:pt x="153" y="130"/>
                        </a:lnTo>
                        <a:close/>
                        <a:moveTo>
                          <a:pt x="0" y="6"/>
                        </a:moveTo>
                        <a:cubicBezTo>
                          <a:pt x="0" y="204"/>
                          <a:pt x="0" y="204"/>
                          <a:pt x="0" y="204"/>
                        </a:cubicBezTo>
                        <a:cubicBezTo>
                          <a:pt x="118" y="106"/>
                          <a:pt x="118" y="106"/>
                          <a:pt x="118" y="106"/>
                        </a:cubicBezTo>
                        <a:lnTo>
                          <a:pt x="0" y="6"/>
                        </a:lnTo>
                        <a:close/>
                        <a:moveTo>
                          <a:pt x="182" y="106"/>
                        </a:moveTo>
                        <a:cubicBezTo>
                          <a:pt x="300" y="204"/>
                          <a:pt x="300" y="204"/>
                          <a:pt x="300" y="204"/>
                        </a:cubicBezTo>
                        <a:cubicBezTo>
                          <a:pt x="300" y="6"/>
                          <a:pt x="300" y="6"/>
                          <a:pt x="300" y="6"/>
                        </a:cubicBezTo>
                        <a:lnTo>
                          <a:pt x="182" y="10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2305" tIns="41153" rIns="82305" bIns="41153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793"/>
                    <a:endParaRPr lang="en-US" sz="160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65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3478935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6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3955892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7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4432849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8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1187931" y="4909805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31" name="Group 30"/>
              <p:cNvGrpSpPr/>
              <p:nvPr/>
            </p:nvGrpSpPr>
            <p:grpSpPr>
              <a:xfrm>
                <a:off x="3008108" y="3223772"/>
                <a:ext cx="974880" cy="1198173"/>
                <a:chOff x="3293293" y="3425018"/>
                <a:chExt cx="974880" cy="1198171"/>
              </a:xfrm>
            </p:grpSpPr>
            <p:pic>
              <p:nvPicPr>
                <p:cNvPr id="54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3602978" y="3425018"/>
                  <a:ext cx="355510" cy="712232"/>
                </a:xfrm>
                <a:prstGeom prst="rect">
                  <a:avLst/>
                </a:prstGeom>
                <a:noFill/>
              </p:spPr>
            </p:pic>
            <p:sp>
              <p:nvSpPr>
                <p:cNvPr id="55" name="Rectangle 54"/>
                <p:cNvSpPr/>
                <p:nvPr/>
              </p:nvSpPr>
              <p:spPr>
                <a:xfrm>
                  <a:off x="3293293" y="4064332"/>
                  <a:ext cx="974880" cy="55885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913529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S2S VPN </a:t>
                  </a:r>
                  <a:b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</a:br>
                  <a:r>
                    <a:rPr lang="en-US" sz="1200" dirty="0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Device</a:t>
                  </a:r>
                </a:p>
              </p:txBody>
            </p:sp>
          </p:grpSp>
          <p:grpSp>
            <p:nvGrpSpPr>
              <p:cNvPr id="32" name="Group 31"/>
              <p:cNvGrpSpPr/>
              <p:nvPr/>
            </p:nvGrpSpPr>
            <p:grpSpPr>
              <a:xfrm>
                <a:off x="4502875" y="1767148"/>
                <a:ext cx="430451" cy="1081861"/>
                <a:chOff x="4409404" y="1676776"/>
                <a:chExt cx="510347" cy="1282665"/>
              </a:xfrm>
            </p:grpSpPr>
            <p:sp>
              <p:nvSpPr>
                <p:cNvPr id="51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4409404" y="1676776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2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4409404" y="2153733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3" name="Freeform 27"/>
                <p:cNvSpPr>
                  <a:spLocks noChangeAspect="1" noEditPoints="1"/>
                </p:cNvSpPr>
                <p:nvPr/>
              </p:nvSpPr>
              <p:spPr bwMode="black">
                <a:xfrm>
                  <a:off x="4409404" y="2630689"/>
                  <a:ext cx="510347" cy="328752"/>
                </a:xfrm>
                <a:custGeom>
                  <a:avLst/>
                  <a:gdLst/>
                  <a:ahLst/>
                  <a:cxnLst>
                    <a:cxn ang="0">
                      <a:pos x="340" y="182"/>
                    </a:cxn>
                    <a:cxn ang="0">
                      <a:pos x="340" y="16"/>
                    </a:cxn>
                    <a:cxn ang="0">
                      <a:pos x="324" y="0"/>
                    </a:cxn>
                    <a:cxn ang="0">
                      <a:pos x="47" y="0"/>
                    </a:cxn>
                    <a:cxn ang="0">
                      <a:pos x="31" y="16"/>
                    </a:cxn>
                    <a:cxn ang="0">
                      <a:pos x="31" y="182"/>
                    </a:cxn>
                    <a:cxn ang="0">
                      <a:pos x="0" y="220"/>
                    </a:cxn>
                    <a:cxn ang="0">
                      <a:pos x="19" y="240"/>
                    </a:cxn>
                    <a:cxn ang="0">
                      <a:pos x="352" y="240"/>
                    </a:cxn>
                    <a:cxn ang="0">
                      <a:pos x="371" y="220"/>
                    </a:cxn>
                    <a:cxn ang="0">
                      <a:pos x="340" y="182"/>
                    </a:cxn>
                    <a:cxn ang="0">
                      <a:pos x="211" y="225"/>
                    </a:cxn>
                    <a:cxn ang="0">
                      <a:pos x="154" y="225"/>
                    </a:cxn>
                    <a:cxn ang="0">
                      <a:pos x="148" y="222"/>
                    </a:cxn>
                    <a:cxn ang="0">
                      <a:pos x="155" y="209"/>
                    </a:cxn>
                    <a:cxn ang="0">
                      <a:pos x="160" y="207"/>
                    </a:cxn>
                    <a:cxn ang="0">
                      <a:pos x="205" y="207"/>
                    </a:cxn>
                    <a:cxn ang="0">
                      <a:pos x="210" y="209"/>
                    </a:cxn>
                    <a:cxn ang="0">
                      <a:pos x="217" y="222"/>
                    </a:cxn>
                    <a:cxn ang="0">
                      <a:pos x="211" y="225"/>
                    </a:cxn>
                    <a:cxn ang="0">
                      <a:pos x="315" y="178"/>
                    </a:cxn>
                    <a:cxn ang="0">
                      <a:pos x="56" y="178"/>
                    </a:cxn>
                    <a:cxn ang="0">
                      <a:pos x="56" y="33"/>
                    </a:cxn>
                    <a:cxn ang="0">
                      <a:pos x="63" y="25"/>
                    </a:cxn>
                    <a:cxn ang="0">
                      <a:pos x="308" y="25"/>
                    </a:cxn>
                    <a:cxn ang="0">
                      <a:pos x="315" y="33"/>
                    </a:cxn>
                    <a:cxn ang="0">
                      <a:pos x="315" y="178"/>
                    </a:cxn>
                  </a:cxnLst>
                  <a:rect l="0" t="0" r="r" b="b"/>
                  <a:pathLst>
                    <a:path w="371" h="240">
                      <a:moveTo>
                        <a:pt x="340" y="182"/>
                      </a:moveTo>
                      <a:cubicBezTo>
                        <a:pt x="340" y="16"/>
                        <a:pt x="340" y="16"/>
                        <a:pt x="340" y="16"/>
                      </a:cubicBezTo>
                      <a:cubicBezTo>
                        <a:pt x="340" y="8"/>
                        <a:pt x="333" y="0"/>
                        <a:pt x="324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38" y="0"/>
                        <a:pt x="31" y="8"/>
                        <a:pt x="31" y="16"/>
                      </a:cubicBezTo>
                      <a:cubicBezTo>
                        <a:pt x="31" y="182"/>
                        <a:pt x="31" y="182"/>
                        <a:pt x="31" y="182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1"/>
                        <a:pt x="9" y="240"/>
                        <a:pt x="19" y="240"/>
                      </a:cubicBezTo>
                      <a:cubicBezTo>
                        <a:pt x="352" y="240"/>
                        <a:pt x="352" y="240"/>
                        <a:pt x="352" y="240"/>
                      </a:cubicBezTo>
                      <a:cubicBezTo>
                        <a:pt x="362" y="240"/>
                        <a:pt x="371" y="231"/>
                        <a:pt x="371" y="220"/>
                      </a:cubicBezTo>
                      <a:lnTo>
                        <a:pt x="340" y="182"/>
                      </a:lnTo>
                      <a:close/>
                      <a:moveTo>
                        <a:pt x="211" y="225"/>
                      </a:moveTo>
                      <a:cubicBezTo>
                        <a:pt x="154" y="225"/>
                        <a:pt x="154" y="225"/>
                        <a:pt x="154" y="225"/>
                      </a:cubicBezTo>
                      <a:cubicBezTo>
                        <a:pt x="151" y="225"/>
                        <a:pt x="148" y="223"/>
                        <a:pt x="148" y="222"/>
                      </a:cubicBezTo>
                      <a:cubicBezTo>
                        <a:pt x="155" y="209"/>
                        <a:pt x="155" y="209"/>
                        <a:pt x="155" y="209"/>
                      </a:cubicBezTo>
                      <a:cubicBezTo>
                        <a:pt x="155" y="208"/>
                        <a:pt x="157" y="207"/>
                        <a:pt x="160" y="207"/>
                      </a:cubicBezTo>
                      <a:cubicBezTo>
                        <a:pt x="205" y="207"/>
                        <a:pt x="205" y="207"/>
                        <a:pt x="205" y="207"/>
                      </a:cubicBezTo>
                      <a:cubicBezTo>
                        <a:pt x="208" y="207"/>
                        <a:pt x="210" y="208"/>
                        <a:pt x="210" y="209"/>
                      </a:cubicBezTo>
                      <a:cubicBezTo>
                        <a:pt x="217" y="222"/>
                        <a:pt x="217" y="222"/>
                        <a:pt x="217" y="222"/>
                      </a:cubicBezTo>
                      <a:cubicBezTo>
                        <a:pt x="217" y="223"/>
                        <a:pt x="214" y="225"/>
                        <a:pt x="211" y="225"/>
                      </a:cubicBezTo>
                      <a:close/>
                      <a:moveTo>
                        <a:pt x="315" y="178"/>
                      </a:moveTo>
                      <a:cubicBezTo>
                        <a:pt x="56" y="178"/>
                        <a:pt x="56" y="178"/>
                        <a:pt x="56" y="178"/>
                      </a:cubicBezTo>
                      <a:cubicBezTo>
                        <a:pt x="56" y="33"/>
                        <a:pt x="56" y="33"/>
                        <a:pt x="56" y="33"/>
                      </a:cubicBezTo>
                      <a:cubicBezTo>
                        <a:pt x="56" y="28"/>
                        <a:pt x="59" y="25"/>
                        <a:pt x="63" y="25"/>
                      </a:cubicBezTo>
                      <a:cubicBezTo>
                        <a:pt x="308" y="25"/>
                        <a:pt x="308" y="25"/>
                        <a:pt x="308" y="25"/>
                      </a:cubicBezTo>
                      <a:cubicBezTo>
                        <a:pt x="312" y="25"/>
                        <a:pt x="315" y="28"/>
                        <a:pt x="315" y="33"/>
                      </a:cubicBezTo>
                      <a:lnTo>
                        <a:pt x="315" y="17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33" name="Group 32"/>
              <p:cNvGrpSpPr/>
              <p:nvPr/>
            </p:nvGrpSpPr>
            <p:grpSpPr>
              <a:xfrm>
                <a:off x="3302455" y="1905787"/>
                <a:ext cx="1200422" cy="804576"/>
                <a:chOff x="3587658" y="2107080"/>
                <a:chExt cx="1200422" cy="804576"/>
              </a:xfrm>
            </p:grpSpPr>
            <p:cxnSp>
              <p:nvCxnSpPr>
                <p:cNvPr id="48" name="Straight Arrow Connector 47"/>
                <p:cNvCxnSpPr/>
                <p:nvPr/>
              </p:nvCxnSpPr>
              <p:spPr>
                <a:xfrm flipH="1">
                  <a:off x="3602978" y="2107080"/>
                  <a:ext cx="1185102" cy="609069"/>
                </a:xfrm>
                <a:prstGeom prst="straightConnector1">
                  <a:avLst/>
                </a:prstGeom>
                <a:ln w="19050">
                  <a:solidFill>
                    <a:schemeClr val="tx2"/>
                  </a:solidFill>
                  <a:headEnd type="none" w="med" len="sm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Arrow Connector 48"/>
                <p:cNvCxnSpPr/>
                <p:nvPr/>
              </p:nvCxnSpPr>
              <p:spPr>
                <a:xfrm flipH="1">
                  <a:off x="3602978" y="2509368"/>
                  <a:ext cx="1185102" cy="206782"/>
                </a:xfrm>
                <a:prstGeom prst="straightConnector1">
                  <a:avLst/>
                </a:prstGeom>
                <a:ln w="19050">
                  <a:solidFill>
                    <a:schemeClr val="tx2"/>
                  </a:solidFill>
                  <a:headEnd type="none" w="med" len="sm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Arrow Connector 49"/>
                <p:cNvCxnSpPr/>
                <p:nvPr/>
              </p:nvCxnSpPr>
              <p:spPr>
                <a:xfrm flipH="1" flipV="1">
                  <a:off x="3587658" y="2716150"/>
                  <a:ext cx="1200422" cy="195506"/>
                </a:xfrm>
                <a:prstGeom prst="straightConnector1">
                  <a:avLst/>
                </a:prstGeom>
                <a:ln w="19050">
                  <a:solidFill>
                    <a:schemeClr val="tx2"/>
                  </a:solidFill>
                  <a:headEnd type="none" w="med" len="sm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" name="Group 33"/>
              <p:cNvGrpSpPr/>
              <p:nvPr/>
            </p:nvGrpSpPr>
            <p:grpSpPr>
              <a:xfrm>
                <a:off x="2713792" y="2231852"/>
                <a:ext cx="576145" cy="712232"/>
                <a:chOff x="9944860" y="5187045"/>
                <a:chExt cx="576144" cy="712232"/>
              </a:xfrm>
            </p:grpSpPr>
            <p:sp>
              <p:nvSpPr>
                <p:cNvPr id="46" name="Freeform 6"/>
                <p:cNvSpPr>
                  <a:spLocks noChangeAspect="1" noEditPoints="1"/>
                </p:cNvSpPr>
                <p:nvPr/>
              </p:nvSpPr>
              <p:spPr bwMode="black">
                <a:xfrm>
                  <a:off x="10192459" y="5526355"/>
                  <a:ext cx="328545" cy="332665"/>
                </a:xfrm>
                <a:custGeom>
                  <a:avLst/>
                  <a:gdLst>
                    <a:gd name="T0" fmla="*/ 84 w 84"/>
                    <a:gd name="T1" fmla="*/ 43 h 85"/>
                    <a:gd name="T2" fmla="*/ 0 w 84"/>
                    <a:gd name="T3" fmla="*/ 43 h 85"/>
                    <a:gd name="T4" fmla="*/ 76 w 84"/>
                    <a:gd name="T5" fmla="*/ 27 h 85"/>
                    <a:gd name="T6" fmla="*/ 65 w 84"/>
                    <a:gd name="T7" fmla="*/ 40 h 85"/>
                    <a:gd name="T8" fmla="*/ 76 w 84"/>
                    <a:gd name="T9" fmla="*/ 27 h 85"/>
                    <a:gd name="T10" fmla="*/ 45 w 84"/>
                    <a:gd name="T11" fmla="*/ 27 h 85"/>
                    <a:gd name="T12" fmla="*/ 62 w 84"/>
                    <a:gd name="T13" fmla="*/ 40 h 85"/>
                    <a:gd name="T14" fmla="*/ 40 w 84"/>
                    <a:gd name="T15" fmla="*/ 27 h 85"/>
                    <a:gd name="T16" fmla="*/ 21 w 84"/>
                    <a:gd name="T17" fmla="*/ 40 h 85"/>
                    <a:gd name="T18" fmla="*/ 40 w 84"/>
                    <a:gd name="T19" fmla="*/ 27 h 85"/>
                    <a:gd name="T20" fmla="*/ 8 w 84"/>
                    <a:gd name="T21" fmla="*/ 27 h 85"/>
                    <a:gd name="T22" fmla="*/ 19 w 84"/>
                    <a:gd name="T23" fmla="*/ 40 h 85"/>
                    <a:gd name="T24" fmla="*/ 10 w 84"/>
                    <a:gd name="T25" fmla="*/ 21 h 85"/>
                    <a:gd name="T26" fmla="*/ 30 w 84"/>
                    <a:gd name="T27" fmla="*/ 6 h 85"/>
                    <a:gd name="T28" fmla="*/ 25 w 84"/>
                    <a:gd name="T29" fmla="*/ 21 h 85"/>
                    <a:gd name="T30" fmla="*/ 40 w 84"/>
                    <a:gd name="T31" fmla="*/ 4 h 85"/>
                    <a:gd name="T32" fmla="*/ 45 w 84"/>
                    <a:gd name="T33" fmla="*/ 21 h 85"/>
                    <a:gd name="T34" fmla="*/ 45 w 84"/>
                    <a:gd name="T35" fmla="*/ 5 h 85"/>
                    <a:gd name="T36" fmla="*/ 62 w 84"/>
                    <a:gd name="T37" fmla="*/ 21 h 85"/>
                    <a:gd name="T38" fmla="*/ 54 w 84"/>
                    <a:gd name="T39" fmla="*/ 6 h 85"/>
                    <a:gd name="T40" fmla="*/ 80 w 84"/>
                    <a:gd name="T41" fmla="*/ 45 h 85"/>
                    <a:gd name="T42" fmla="*/ 63 w 84"/>
                    <a:gd name="T43" fmla="*/ 59 h 85"/>
                    <a:gd name="T44" fmla="*/ 80 w 84"/>
                    <a:gd name="T45" fmla="*/ 45 h 85"/>
                    <a:gd name="T46" fmla="*/ 45 w 84"/>
                    <a:gd name="T47" fmla="*/ 45 h 85"/>
                    <a:gd name="T48" fmla="*/ 61 w 84"/>
                    <a:gd name="T49" fmla="*/ 59 h 85"/>
                    <a:gd name="T50" fmla="*/ 40 w 84"/>
                    <a:gd name="T51" fmla="*/ 45 h 85"/>
                    <a:gd name="T52" fmla="*/ 23 w 84"/>
                    <a:gd name="T53" fmla="*/ 59 h 85"/>
                    <a:gd name="T54" fmla="*/ 40 w 84"/>
                    <a:gd name="T55" fmla="*/ 45 h 85"/>
                    <a:gd name="T56" fmla="*/ 4 w 84"/>
                    <a:gd name="T57" fmla="*/ 45 h 85"/>
                    <a:gd name="T58" fmla="*/ 21 w 84"/>
                    <a:gd name="T59" fmla="*/ 59 h 85"/>
                    <a:gd name="T60" fmla="*/ 45 w 84"/>
                    <a:gd name="T61" fmla="*/ 64 h 85"/>
                    <a:gd name="T62" fmla="*/ 59 w 84"/>
                    <a:gd name="T63" fmla="*/ 64 h 85"/>
                    <a:gd name="T64" fmla="*/ 40 w 84"/>
                    <a:gd name="T65" fmla="*/ 81 h 85"/>
                    <a:gd name="T66" fmla="*/ 25 w 84"/>
                    <a:gd name="T67" fmla="*/ 64 h 85"/>
                    <a:gd name="T68" fmla="*/ 73 w 84"/>
                    <a:gd name="T69" fmla="*/ 64 h 85"/>
                    <a:gd name="T70" fmla="*/ 54 w 84"/>
                    <a:gd name="T71" fmla="*/ 79 h 85"/>
                    <a:gd name="T72" fmla="*/ 22 w 84"/>
                    <a:gd name="T73" fmla="*/ 64 h 85"/>
                    <a:gd name="T74" fmla="*/ 30 w 84"/>
                    <a:gd name="T75" fmla="*/ 79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4" h="85">
                      <a:moveTo>
                        <a:pt x="42" y="0"/>
                      </a:moveTo>
                      <a:cubicBezTo>
                        <a:pt x="65" y="0"/>
                        <a:pt x="84" y="19"/>
                        <a:pt x="84" y="43"/>
                      </a:cubicBezTo>
                      <a:cubicBezTo>
                        <a:pt x="84" y="66"/>
                        <a:pt x="65" y="85"/>
                        <a:pt x="42" y="85"/>
                      </a:cubicBezTo>
                      <a:cubicBezTo>
                        <a:pt x="19" y="85"/>
                        <a:pt x="0" y="66"/>
                        <a:pt x="0" y="43"/>
                      </a:cubicBezTo>
                      <a:cubicBezTo>
                        <a:pt x="0" y="19"/>
                        <a:pt x="19" y="0"/>
                        <a:pt x="42" y="0"/>
                      </a:cubicBezTo>
                      <a:close/>
                      <a:moveTo>
                        <a:pt x="76" y="27"/>
                      </a:move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64" y="31"/>
                        <a:pt x="65" y="35"/>
                        <a:pt x="65" y="40"/>
                      </a:cubicBezTo>
                      <a:cubicBezTo>
                        <a:pt x="80" y="40"/>
                        <a:pt x="80" y="40"/>
                        <a:pt x="80" y="40"/>
                      </a:cubicBezTo>
                      <a:cubicBezTo>
                        <a:pt x="79" y="35"/>
                        <a:pt x="78" y="31"/>
                        <a:pt x="76" y="27"/>
                      </a:cubicBezTo>
                      <a:close/>
                      <a:moveTo>
                        <a:pt x="61" y="27"/>
                      </a:moveTo>
                      <a:cubicBezTo>
                        <a:pt x="45" y="27"/>
                        <a:pt x="45" y="27"/>
                        <a:pt x="45" y="27"/>
                      </a:cubicBezTo>
                      <a:cubicBezTo>
                        <a:pt x="45" y="40"/>
                        <a:pt x="45" y="40"/>
                        <a:pt x="45" y="40"/>
                      </a:cubicBezTo>
                      <a:cubicBezTo>
                        <a:pt x="62" y="40"/>
                        <a:pt x="62" y="40"/>
                        <a:pt x="62" y="40"/>
                      </a:cubicBezTo>
                      <a:cubicBezTo>
                        <a:pt x="62" y="35"/>
                        <a:pt x="62" y="31"/>
                        <a:pt x="61" y="27"/>
                      </a:cubicBezTo>
                      <a:close/>
                      <a:moveTo>
                        <a:pt x="40" y="27"/>
                      </a:move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2" y="31"/>
                        <a:pt x="22" y="35"/>
                        <a:pt x="21" y="40"/>
                      </a:cubicBezTo>
                      <a:cubicBezTo>
                        <a:pt x="40" y="40"/>
                        <a:pt x="40" y="40"/>
                        <a:pt x="40" y="40"/>
                      </a:cubicBezTo>
                      <a:cubicBezTo>
                        <a:pt x="40" y="27"/>
                        <a:pt x="40" y="27"/>
                        <a:pt x="40" y="27"/>
                      </a:cubicBezTo>
                      <a:close/>
                      <a:moveTo>
                        <a:pt x="21" y="27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6" y="31"/>
                        <a:pt x="5" y="35"/>
                        <a:pt x="4" y="40"/>
                      </a:cubicBezTo>
                      <a:cubicBezTo>
                        <a:pt x="19" y="40"/>
                        <a:pt x="19" y="40"/>
                        <a:pt x="19" y="40"/>
                      </a:cubicBezTo>
                      <a:cubicBezTo>
                        <a:pt x="19" y="35"/>
                        <a:pt x="20" y="31"/>
                        <a:pt x="21" y="27"/>
                      </a:cubicBezTo>
                      <a:close/>
                      <a:moveTo>
                        <a:pt x="10" y="21"/>
                      </a:moveTo>
                      <a:cubicBezTo>
                        <a:pt x="22" y="21"/>
                        <a:pt x="22" y="21"/>
                        <a:pt x="22" y="21"/>
                      </a:cubicBezTo>
                      <a:cubicBezTo>
                        <a:pt x="24" y="15"/>
                        <a:pt x="27" y="10"/>
                        <a:pt x="30" y="6"/>
                      </a:cubicBezTo>
                      <a:cubicBezTo>
                        <a:pt x="22" y="9"/>
                        <a:pt x="15" y="14"/>
                        <a:pt x="10" y="21"/>
                      </a:cubicBezTo>
                      <a:close/>
                      <a:moveTo>
                        <a:pt x="25" y="21"/>
                      </a:move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33" y="6"/>
                        <a:pt x="28" y="12"/>
                        <a:pt x="25" y="21"/>
                      </a:cubicBezTo>
                      <a:close/>
                      <a:moveTo>
                        <a:pt x="45" y="21"/>
                      </a:moveTo>
                      <a:cubicBezTo>
                        <a:pt x="59" y="21"/>
                        <a:pt x="59" y="21"/>
                        <a:pt x="59" y="21"/>
                      </a:cubicBezTo>
                      <a:cubicBezTo>
                        <a:pt x="56" y="12"/>
                        <a:pt x="51" y="6"/>
                        <a:pt x="45" y="5"/>
                      </a:cubicBezTo>
                      <a:cubicBezTo>
                        <a:pt x="45" y="21"/>
                        <a:pt x="45" y="21"/>
                        <a:pt x="45" y="21"/>
                      </a:cubicBezTo>
                      <a:close/>
                      <a:moveTo>
                        <a:pt x="62" y="21"/>
                      </a:moveTo>
                      <a:cubicBezTo>
                        <a:pt x="73" y="21"/>
                        <a:pt x="73" y="21"/>
                        <a:pt x="73" y="21"/>
                      </a:cubicBezTo>
                      <a:cubicBezTo>
                        <a:pt x="69" y="14"/>
                        <a:pt x="62" y="9"/>
                        <a:pt x="54" y="6"/>
                      </a:cubicBezTo>
                      <a:cubicBezTo>
                        <a:pt x="57" y="10"/>
                        <a:pt x="60" y="15"/>
                        <a:pt x="62" y="21"/>
                      </a:cubicBezTo>
                      <a:close/>
                      <a:moveTo>
                        <a:pt x="80" y="45"/>
                      </a:moveTo>
                      <a:cubicBezTo>
                        <a:pt x="65" y="45"/>
                        <a:pt x="65" y="45"/>
                        <a:pt x="65" y="45"/>
                      </a:cubicBezTo>
                      <a:cubicBezTo>
                        <a:pt x="65" y="50"/>
                        <a:pt x="64" y="54"/>
                        <a:pt x="63" y="59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8" y="54"/>
                        <a:pt x="79" y="50"/>
                        <a:pt x="80" y="45"/>
                      </a:cubicBezTo>
                      <a:close/>
                      <a:moveTo>
                        <a:pt x="62" y="45"/>
                      </a:moveTo>
                      <a:cubicBezTo>
                        <a:pt x="45" y="45"/>
                        <a:pt x="45" y="45"/>
                        <a:pt x="45" y="45"/>
                      </a:cubicBezTo>
                      <a:cubicBezTo>
                        <a:pt x="45" y="59"/>
                        <a:pt x="45" y="59"/>
                        <a:pt x="45" y="59"/>
                      </a:cubicBezTo>
                      <a:cubicBezTo>
                        <a:pt x="61" y="59"/>
                        <a:pt x="61" y="59"/>
                        <a:pt x="61" y="59"/>
                      </a:cubicBezTo>
                      <a:cubicBezTo>
                        <a:pt x="62" y="54"/>
                        <a:pt x="62" y="50"/>
                        <a:pt x="62" y="45"/>
                      </a:cubicBezTo>
                      <a:close/>
                      <a:moveTo>
                        <a:pt x="40" y="45"/>
                      </a:moveTo>
                      <a:cubicBezTo>
                        <a:pt x="21" y="45"/>
                        <a:pt x="21" y="45"/>
                        <a:pt x="21" y="45"/>
                      </a:cubicBezTo>
                      <a:cubicBezTo>
                        <a:pt x="22" y="50"/>
                        <a:pt x="22" y="54"/>
                        <a:pt x="23" y="59"/>
                      </a:cubicBezTo>
                      <a:cubicBezTo>
                        <a:pt x="40" y="59"/>
                        <a:pt x="40" y="59"/>
                        <a:pt x="40" y="59"/>
                      </a:cubicBezTo>
                      <a:cubicBezTo>
                        <a:pt x="40" y="45"/>
                        <a:pt x="40" y="45"/>
                        <a:pt x="40" y="45"/>
                      </a:cubicBezTo>
                      <a:close/>
                      <a:moveTo>
                        <a:pt x="19" y="45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5" y="50"/>
                        <a:pt x="6" y="54"/>
                        <a:pt x="8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20" y="54"/>
                        <a:pt x="19" y="50"/>
                        <a:pt x="19" y="45"/>
                      </a:cubicBezTo>
                      <a:close/>
                      <a:moveTo>
                        <a:pt x="45" y="64"/>
                      </a:moveTo>
                      <a:cubicBezTo>
                        <a:pt x="45" y="81"/>
                        <a:pt x="45" y="81"/>
                        <a:pt x="45" y="81"/>
                      </a:cubicBezTo>
                      <a:cubicBezTo>
                        <a:pt x="51" y="79"/>
                        <a:pt x="56" y="73"/>
                        <a:pt x="59" y="64"/>
                      </a:cubicBezTo>
                      <a:cubicBezTo>
                        <a:pt x="45" y="64"/>
                        <a:pt x="45" y="64"/>
                        <a:pt x="45" y="64"/>
                      </a:cubicBezTo>
                      <a:close/>
                      <a:moveTo>
                        <a:pt x="40" y="81"/>
                      </a:moveTo>
                      <a:cubicBezTo>
                        <a:pt x="40" y="64"/>
                        <a:pt x="40" y="64"/>
                        <a:pt x="40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28" y="73"/>
                        <a:pt x="33" y="79"/>
                        <a:pt x="40" y="81"/>
                      </a:cubicBezTo>
                      <a:close/>
                      <a:moveTo>
                        <a:pt x="73" y="64"/>
                      </a:move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60" y="70"/>
                        <a:pt x="57" y="75"/>
                        <a:pt x="54" y="79"/>
                      </a:cubicBezTo>
                      <a:cubicBezTo>
                        <a:pt x="62" y="76"/>
                        <a:pt x="69" y="71"/>
                        <a:pt x="73" y="64"/>
                      </a:cubicBezTo>
                      <a:close/>
                      <a:moveTo>
                        <a:pt x="22" y="64"/>
                      </a:moveTo>
                      <a:cubicBezTo>
                        <a:pt x="11" y="64"/>
                        <a:pt x="11" y="64"/>
                        <a:pt x="11" y="64"/>
                      </a:cubicBezTo>
                      <a:cubicBezTo>
                        <a:pt x="15" y="71"/>
                        <a:pt x="22" y="76"/>
                        <a:pt x="30" y="79"/>
                      </a:cubicBezTo>
                      <a:cubicBezTo>
                        <a:pt x="27" y="75"/>
                        <a:pt x="24" y="70"/>
                        <a:pt x="22" y="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793"/>
                  <a:endParaRPr lang="en-US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pic>
              <p:nvPicPr>
                <p:cNvPr id="47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9944860" y="5187045"/>
                  <a:ext cx="355510" cy="712232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35" name="Group 34"/>
              <p:cNvGrpSpPr/>
              <p:nvPr/>
            </p:nvGrpSpPr>
            <p:grpSpPr>
              <a:xfrm>
                <a:off x="1493287" y="2242485"/>
                <a:ext cx="604285" cy="712232"/>
                <a:chOff x="4647795" y="6723311"/>
                <a:chExt cx="604285" cy="712232"/>
              </a:xfrm>
            </p:grpSpPr>
            <p:pic>
              <p:nvPicPr>
                <p:cNvPr id="44" name="Picture 2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clrChange>
                    <a:clrFrom>
                      <a:srgbClr val="4EB1E4"/>
                    </a:clrFrom>
                    <a:clrTo>
                      <a:srgbClr val="4EB1E4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918743" y="7037593"/>
                  <a:ext cx="333337" cy="30258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5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4647795" y="6723311"/>
                  <a:ext cx="355510" cy="712232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36" name="Group 35"/>
              <p:cNvGrpSpPr/>
              <p:nvPr/>
            </p:nvGrpSpPr>
            <p:grpSpPr>
              <a:xfrm>
                <a:off x="2151470" y="3327265"/>
                <a:ext cx="479392" cy="712232"/>
                <a:chOff x="4610325" y="6858496"/>
                <a:chExt cx="479392" cy="712232"/>
              </a:xfrm>
            </p:grpSpPr>
            <p:pic>
              <p:nvPicPr>
                <p:cNvPr id="39" name="Picture 6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lum bright="100000"/>
                </a:blip>
                <a:srcRect l="24157" r="25929"/>
                <a:stretch/>
              </p:blipFill>
              <p:spPr bwMode="auto">
                <a:xfrm>
                  <a:off x="4610325" y="6858496"/>
                  <a:ext cx="355510" cy="712232"/>
                </a:xfrm>
                <a:prstGeom prst="rect">
                  <a:avLst/>
                </a:prstGeom>
                <a:noFill/>
              </p:spPr>
            </p:pic>
            <p:sp>
              <p:nvSpPr>
                <p:cNvPr id="40" name="Isosceles Triangle 39"/>
                <p:cNvSpPr/>
                <p:nvPr/>
              </p:nvSpPr>
              <p:spPr bwMode="auto">
                <a:xfrm>
                  <a:off x="4883537" y="7331187"/>
                  <a:ext cx="206180" cy="17774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1" name="Rectangle 40"/>
                <p:cNvSpPr/>
                <p:nvPr/>
              </p:nvSpPr>
              <p:spPr bwMode="auto">
                <a:xfrm>
                  <a:off x="4883537" y="7416936"/>
                  <a:ext cx="206180" cy="2634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2" name="Rectangle 41"/>
                <p:cNvSpPr/>
                <p:nvPr/>
              </p:nvSpPr>
              <p:spPr bwMode="auto">
                <a:xfrm rot="16200000">
                  <a:off x="4928054" y="7465866"/>
                  <a:ext cx="117146" cy="263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3" name="Isosceles Triangle 42"/>
                <p:cNvSpPr/>
                <p:nvPr/>
              </p:nvSpPr>
              <p:spPr bwMode="auto">
                <a:xfrm>
                  <a:off x="4942260" y="7396152"/>
                  <a:ext cx="88734" cy="76495"/>
                </a:xfrm>
                <a:prstGeom prst="triangle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2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3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37" name="Rectangle 36"/>
              <p:cNvSpPr/>
              <p:nvPr/>
            </p:nvSpPr>
            <p:spPr bwMode="auto">
              <a:xfrm>
                <a:off x="382773" y="1563005"/>
                <a:ext cx="3955312" cy="4529471"/>
              </a:xfrm>
              <a:prstGeom prst="rect">
                <a:avLst/>
              </a:prstGeom>
              <a:noFill/>
              <a:ln w="15875">
                <a:solidFill>
                  <a:schemeClr val="accent4"/>
                </a:solidFill>
                <a:prstDash val="sysDash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376" tIns="45689" rIns="91376" bIns="45689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5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919653" y="1562987"/>
                <a:ext cx="2740723" cy="340097"/>
              </a:xfrm>
              <a:prstGeom prst="rect">
                <a:avLst/>
              </a:prstGeom>
            </p:spPr>
            <p:txBody>
              <a:bodyPr wrap="none" lIns="91380" tIns="45691" rIns="91380" bIns="45691">
                <a:spAutoFit/>
              </a:bodyPr>
              <a:lstStyle/>
              <a:p>
                <a:pPr algn="ctr" defTabSz="913529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Contoso.com Active Directory</a:t>
                </a:r>
              </a:p>
            </p:txBody>
          </p:sp>
        </p:grpSp>
        <p:sp>
          <p:nvSpPr>
            <p:cNvPr id="28" name="Rectangle 27"/>
            <p:cNvSpPr/>
            <p:nvPr/>
          </p:nvSpPr>
          <p:spPr bwMode="auto">
            <a:xfrm>
              <a:off x="8879743" y="1760077"/>
              <a:ext cx="3240073" cy="4529471"/>
            </a:xfrm>
            <a:prstGeom prst="rect">
              <a:avLst/>
            </a:prstGeom>
            <a:noFill/>
            <a:ln w="15875">
              <a:solidFill>
                <a:schemeClr val="accent4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376" tIns="45689" rIns="91376" bIns="4568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529" fontAlgn="base">
                <a:spcBef>
                  <a:spcPct val="0"/>
                </a:spcBef>
                <a:spcAft>
                  <a:spcPct val="0"/>
                </a:spcAft>
              </a:pPr>
              <a:endParaRPr lang="en-US" sz="23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9359388" y="1865883"/>
              <a:ext cx="2343179" cy="340097"/>
            </a:xfrm>
            <a:prstGeom prst="rect">
              <a:avLst/>
            </a:prstGeom>
          </p:spPr>
          <p:txBody>
            <a:bodyPr wrap="none" lIns="91380" tIns="45691" rIns="91380" bIns="45691">
              <a:spAutoFit/>
            </a:bodyPr>
            <a:lstStyle/>
            <a:p>
              <a:pPr algn="ctr" defTabSz="91352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Extranet Active Direct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52434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92896"/>
            <a:ext cx="9144000" cy="1362075"/>
          </a:xfrm>
        </p:spPr>
        <p:txBody>
          <a:bodyPr>
            <a:normAutofit/>
          </a:bodyPr>
          <a:lstStyle/>
          <a:p>
            <a:pPr algn="ctr"/>
            <a:r>
              <a:rPr lang="en-IE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Web Sites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625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581"/>
            <a:ext cx="9144000" cy="1399032"/>
          </a:xfrm>
        </p:spPr>
        <p:txBody>
          <a:bodyPr>
            <a:normAutofit/>
          </a:bodyPr>
          <a:lstStyle/>
          <a:p>
            <a:r>
              <a:rPr lang="en-IE" sz="4400" dirty="0" smtClean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Windows Azure Web Sites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56792"/>
            <a:ext cx="8229600" cy="4572000"/>
          </a:xfrm>
        </p:spPr>
        <p:txBody>
          <a:bodyPr>
            <a:normAutofit fontScale="92500" lnSpcReduction="20000"/>
          </a:bodyPr>
          <a:lstStyle/>
          <a:p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More like </a:t>
            </a:r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aaS</a:t>
            </a: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 than </a:t>
            </a:r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PaaS</a:t>
            </a: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No need to handle Firewall Rules</a:t>
            </a:r>
          </a:p>
          <a:p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Gallery provides many </a:t>
            </a:r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popular </a:t>
            </a: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applications, such as:</a:t>
            </a:r>
          </a:p>
          <a:p>
            <a:pPr lvl="1"/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DotNetNuke</a:t>
            </a: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lvl="1"/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Drupal</a:t>
            </a:r>
          </a:p>
          <a:p>
            <a:pPr lvl="1"/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Joomla</a:t>
            </a: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lvl="1"/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ordPress</a:t>
            </a: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Build </a:t>
            </a:r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with ASP.NET, Node.js or PHP</a:t>
            </a:r>
          </a:p>
          <a:p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Use Windows, Mac or Linux machines for development</a:t>
            </a:r>
          </a:p>
          <a:p>
            <a:r>
              <a:rPr lang="en-IE" dirty="0">
                <a:solidFill>
                  <a:schemeClr val="bg1"/>
                </a:solidFill>
                <a:latin typeface="Calibri" panose="020F0502020204030204" pitchFamily="34" charset="0"/>
              </a:rPr>
              <a:t>Deploy using FTP, Git or TFS</a:t>
            </a:r>
          </a:p>
          <a:p>
            <a:pPr marL="64008" indent="0">
              <a:buNone/>
            </a:pPr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0956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090"/>
            <a:ext cx="9144000" cy="1399032"/>
          </a:xfrm>
        </p:spPr>
        <p:txBody>
          <a:bodyPr>
            <a:normAutofit/>
          </a:bodyPr>
          <a:lstStyle/>
          <a:p>
            <a:r>
              <a:rPr lang="en-IE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Web Sites Gallery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789" y="1198565"/>
            <a:ext cx="8550914" cy="387798"/>
          </a:xfrm>
        </p:spPr>
        <p:txBody>
          <a:bodyPr>
            <a:normAutofit fontScale="92500" lnSpcReduction="20000"/>
          </a:bodyPr>
          <a:lstStyle/>
          <a:p>
            <a:pPr lvl="1"/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017737"/>
            <a:ext cx="3067050" cy="421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636912"/>
            <a:ext cx="2886075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6340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0" y="2581770"/>
            <a:ext cx="9144000" cy="1295400"/>
          </a:xfrm>
        </p:spPr>
        <p:txBody>
          <a:bodyPr/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latin typeface="Calibri" panose="020F0502020204030204" pitchFamily="34" charset="0"/>
              </a:rPr>
              <a:t>Create a new Web Site from the Gallery </a:t>
            </a:r>
            <a:endParaRPr lang="en-US" sz="4400" dirty="0">
              <a:ln w="6350">
                <a:noFill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25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6" y="23581"/>
            <a:ext cx="9144000" cy="139903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evelopment Environments </a:t>
            </a:r>
            <a:endParaRPr lang="en-IE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82808"/>
            <a:ext cx="8003232" cy="4858560"/>
          </a:xfrm>
        </p:spPr>
        <p:txBody>
          <a:bodyPr>
            <a:normAutofit/>
          </a:bodyPr>
          <a:lstStyle/>
          <a:p>
            <a:r>
              <a:rPr lang="en-US" sz="3400" dirty="0" smtClean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Choice of Web Frameworks</a:t>
            </a: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ASP .NET</a:t>
            </a: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lassic ASP</a:t>
            </a: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HP</a:t>
            </a: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Node.js</a:t>
            </a:r>
          </a:p>
          <a:p>
            <a:endParaRPr lang="en-US" sz="1000" dirty="0">
              <a:solidFill>
                <a:schemeClr val="bg1"/>
              </a:solidFill>
              <a:latin typeface="Calibri" panose="020F0502020204030204" pitchFamily="34" charset="0"/>
              <a:cs typeface="Segoe UI Light" pitchFamily="34" charset="0"/>
            </a:endParaRPr>
          </a:p>
          <a:p>
            <a:r>
              <a:rPr lang="en-US" sz="3400" dirty="0" smtClean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Databases</a:t>
            </a: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QL Database</a:t>
            </a: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ySQL</a:t>
            </a:r>
            <a:endParaRPr lang="en-US" dirty="0" smtClean="0">
              <a:solidFill>
                <a:schemeClr val="bg1"/>
              </a:solidFill>
              <a:latin typeface="Calibri" panose="020F0502020204030204" pitchFamily="34" charset="0"/>
              <a:cs typeface="Segoe UI Light" pitchFamily="34" charset="0"/>
            </a:endParaRPr>
          </a:p>
          <a:p>
            <a:endParaRPr lang="en-US" sz="33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77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Content Placeholder 2"/>
          <p:cNvSpPr>
            <a:spLocks noGrp="1"/>
          </p:cNvSpPr>
          <p:nvPr>
            <p:ph idx="1"/>
          </p:nvPr>
        </p:nvSpPr>
        <p:spPr>
          <a:xfrm>
            <a:off x="457200" y="1882808"/>
            <a:ext cx="8003232" cy="4426512"/>
          </a:xfrm>
        </p:spPr>
        <p:txBody>
          <a:bodyPr>
            <a:normAutofit fontScale="77500" lnSpcReduction="20000"/>
          </a:bodyPr>
          <a:lstStyle/>
          <a:p>
            <a:r>
              <a:rPr lang="en-US" sz="3400" dirty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Development </a:t>
            </a:r>
            <a:r>
              <a:rPr lang="en-US" sz="3400" dirty="0" smtClean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OS</a:t>
            </a:r>
            <a:endParaRPr lang="en-US" sz="3400" dirty="0">
              <a:solidFill>
                <a:schemeClr val="bg1"/>
              </a:solidFill>
              <a:latin typeface="Calibri" panose="020F0502020204030204" pitchFamily="34" charset="0"/>
              <a:cs typeface="Segoe UI Light" pitchFamily="34" charset="0"/>
            </a:endParaRPr>
          </a:p>
          <a:p>
            <a:pPr lvl="1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Windows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Linux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Mac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  <a:cs typeface="Segoe UI Light" pitchFamily="34" charset="0"/>
            </a:endParaRPr>
          </a:p>
          <a:p>
            <a:r>
              <a:rPr lang="en-US" sz="3800" dirty="0" smtClean="0">
                <a:solidFill>
                  <a:schemeClr val="bg1"/>
                </a:solidFill>
                <a:latin typeface="Calibri" panose="020F0502020204030204" pitchFamily="34" charset="0"/>
                <a:cs typeface="Segoe UI Light" pitchFamily="34" charset="0"/>
              </a:rPr>
              <a:t>Publishing Methods</a:t>
            </a: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FTP</a:t>
            </a:r>
          </a:p>
          <a:p>
            <a:pPr lvl="1"/>
            <a:r>
              <a:rPr lang="en-US" sz="29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Git</a:t>
            </a:r>
            <a:endParaRPr lang="en-US" sz="29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Web Deploy</a:t>
            </a: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TFS Deploy</a:t>
            </a:r>
          </a:p>
          <a:p>
            <a:r>
              <a:rPr lang="en-US" sz="33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ource Control</a:t>
            </a:r>
          </a:p>
          <a:p>
            <a:pPr lvl="1"/>
            <a:r>
              <a:rPr lang="en-US" sz="29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Git</a:t>
            </a:r>
            <a:endParaRPr lang="en-US" sz="29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lvl="1"/>
            <a:r>
              <a:rPr lang="en-US" sz="2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TFS</a:t>
            </a:r>
          </a:p>
          <a:p>
            <a:pPr lvl="1"/>
            <a:endParaRPr lang="en-US" sz="33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US" sz="33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583464" y="2683712"/>
            <a:ext cx="1714500" cy="274009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166" tIns="38084" rIns="76166" bIns="38084" numCol="1" rtlCol="0" anchor="t" anchorCtr="0" compatLnSpc="1">
            <a:prstTxWarp prst="textNoShape">
              <a:avLst/>
            </a:prstTxWarp>
          </a:bodyPr>
          <a:lstStyle/>
          <a:p>
            <a:pPr defTabSz="913591">
              <a:spcBef>
                <a:spcPct val="20000"/>
              </a:spcBef>
              <a:spcAft>
                <a:spcPts val="666"/>
              </a:spcAft>
              <a:buSzPct val="80000"/>
              <a:defRPr/>
            </a:pPr>
            <a:endParaRPr lang="en-US"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5403575" y="2837915"/>
            <a:ext cx="3516837" cy="30777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166" tIns="38084" rIns="76166" bIns="38084" numCol="1" rtlCol="0" anchor="ctr" anchorCtr="0" compatLnSpc="1">
            <a:prstTxWarp prst="textNoShape">
              <a:avLst/>
            </a:prstTxWarp>
          </a:bodyPr>
          <a:lstStyle/>
          <a:p>
            <a:pPr algn="ctr" defTabSz="76145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5241108" y="4423333"/>
            <a:ext cx="3679302" cy="30777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166" tIns="38084" rIns="76166" bIns="38084" numCol="1" rtlCol="0" anchor="ctr" anchorCtr="0" compatLnSpc="1">
            <a:prstTxWarp prst="textNoShape">
              <a:avLst/>
            </a:prstTxWarp>
          </a:bodyPr>
          <a:lstStyle/>
          <a:p>
            <a:pPr algn="ctr" defTabSz="76145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181" name="Group 180"/>
          <p:cNvGrpSpPr/>
          <p:nvPr/>
        </p:nvGrpSpPr>
        <p:grpSpPr>
          <a:xfrm>
            <a:off x="4615666" y="2539580"/>
            <a:ext cx="4242771" cy="3121668"/>
            <a:chOff x="6081833" y="4204961"/>
            <a:chExt cx="6788433" cy="3746001"/>
          </a:xfrm>
        </p:grpSpPr>
        <p:grpSp>
          <p:nvGrpSpPr>
            <p:cNvPr id="36" name="Group 35"/>
            <p:cNvGrpSpPr/>
            <p:nvPr/>
          </p:nvGrpSpPr>
          <p:grpSpPr>
            <a:xfrm>
              <a:off x="6081833" y="4204961"/>
              <a:ext cx="1608071" cy="968377"/>
              <a:chOff x="6418048" y="4245880"/>
              <a:chExt cx="1929934" cy="1162203"/>
            </a:xfrm>
          </p:grpSpPr>
          <p:grpSp>
            <p:nvGrpSpPr>
              <p:cNvPr id="15" name="Group 14"/>
              <p:cNvGrpSpPr>
                <a:grpSpLocks noChangeAspect="1"/>
              </p:cNvGrpSpPr>
              <p:nvPr/>
            </p:nvGrpSpPr>
            <p:grpSpPr bwMode="black">
              <a:xfrm>
                <a:off x="6418048" y="4245880"/>
                <a:ext cx="1929934" cy="1162203"/>
                <a:chOff x="8843608" y="828600"/>
                <a:chExt cx="925448" cy="557448"/>
              </a:xfrm>
              <a:solidFill>
                <a:schemeClr val="tx2"/>
              </a:solidFill>
            </p:grpSpPr>
            <p:sp>
              <p:nvSpPr>
                <p:cNvPr id="17" name="Rectangle 16"/>
                <p:cNvSpPr/>
                <p:nvPr/>
              </p:nvSpPr>
              <p:spPr bwMode="black">
                <a:xfrm>
                  <a:off x="8857595" y="835151"/>
                  <a:ext cx="623646" cy="459637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8538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900" dirty="0">
                    <a:solidFill>
                      <a:schemeClr val="bg1"/>
                    </a:solidFill>
                    <a:latin typeface="Calibri" panose="020F0502020204030204" pitchFamily="34" charset="0"/>
                  </a:endParaRPr>
                </a:p>
              </p:txBody>
            </p:sp>
            <p:grpSp>
              <p:nvGrpSpPr>
                <p:cNvPr id="18" name="Group 17"/>
                <p:cNvGrpSpPr/>
                <p:nvPr/>
              </p:nvGrpSpPr>
              <p:grpSpPr bwMode="black">
                <a:xfrm>
                  <a:off x="8843608" y="828600"/>
                  <a:ext cx="925448" cy="557448"/>
                  <a:chOff x="863600" y="2393157"/>
                  <a:chExt cx="876300" cy="527844"/>
                </a:xfrm>
                <a:grpFill/>
              </p:grpSpPr>
              <p:sp>
                <p:nvSpPr>
                  <p:cNvPr id="19" name="Freeform 18"/>
                  <p:cNvSpPr>
                    <a:spLocks noEditPoints="1"/>
                  </p:cNvSpPr>
                  <p:nvPr/>
                </p:nvSpPr>
                <p:spPr bwMode="black">
                  <a:xfrm>
                    <a:off x="1521931" y="2481334"/>
                    <a:ext cx="217969" cy="439667"/>
                  </a:xfrm>
                  <a:custGeom>
                    <a:avLst/>
                    <a:gdLst/>
                    <a:ahLst/>
                    <a:cxnLst>
                      <a:cxn ang="0">
                        <a:pos x="260" y="0"/>
                      </a:cxn>
                      <a:cxn ang="0">
                        <a:pos x="7" y="0"/>
                      </a:cxn>
                      <a:cxn ang="0">
                        <a:pos x="0" y="7"/>
                      </a:cxn>
                      <a:cxn ang="0">
                        <a:pos x="0" y="112"/>
                      </a:cxn>
                      <a:cxn ang="0">
                        <a:pos x="0" y="119"/>
                      </a:cxn>
                      <a:cxn ang="0">
                        <a:pos x="0" y="531"/>
                      </a:cxn>
                      <a:cxn ang="0">
                        <a:pos x="7" y="538"/>
                      </a:cxn>
                      <a:cxn ang="0">
                        <a:pos x="260" y="538"/>
                      </a:cxn>
                      <a:cxn ang="0">
                        <a:pos x="267" y="531"/>
                      </a:cxn>
                      <a:cxn ang="0">
                        <a:pos x="267" y="119"/>
                      </a:cxn>
                      <a:cxn ang="0">
                        <a:pos x="267" y="112"/>
                      </a:cxn>
                      <a:cxn ang="0">
                        <a:pos x="267" y="7"/>
                      </a:cxn>
                      <a:cxn ang="0">
                        <a:pos x="260" y="0"/>
                      </a:cxn>
                      <a:cxn ang="0">
                        <a:pos x="32" y="82"/>
                      </a:cxn>
                      <a:cxn ang="0">
                        <a:pos x="32" y="57"/>
                      </a:cxn>
                      <a:cxn ang="0">
                        <a:pos x="39" y="50"/>
                      </a:cxn>
                      <a:cxn ang="0">
                        <a:pos x="228" y="50"/>
                      </a:cxn>
                      <a:cxn ang="0">
                        <a:pos x="235" y="57"/>
                      </a:cxn>
                      <a:cxn ang="0">
                        <a:pos x="235" y="82"/>
                      </a:cxn>
                      <a:cxn ang="0">
                        <a:pos x="228" y="89"/>
                      </a:cxn>
                      <a:cxn ang="0">
                        <a:pos x="39" y="89"/>
                      </a:cxn>
                      <a:cxn ang="0">
                        <a:pos x="32" y="82"/>
                      </a:cxn>
                      <a:cxn ang="0">
                        <a:pos x="213" y="254"/>
                      </a:cxn>
                      <a:cxn ang="0">
                        <a:pos x="195" y="236"/>
                      </a:cxn>
                      <a:cxn ang="0">
                        <a:pos x="213" y="218"/>
                      </a:cxn>
                      <a:cxn ang="0">
                        <a:pos x="232" y="236"/>
                      </a:cxn>
                      <a:cxn ang="0">
                        <a:pos x="213" y="254"/>
                      </a:cxn>
                      <a:cxn ang="0">
                        <a:pos x="213" y="194"/>
                      </a:cxn>
                      <a:cxn ang="0">
                        <a:pos x="189" y="170"/>
                      </a:cxn>
                      <a:cxn ang="0">
                        <a:pos x="213" y="146"/>
                      </a:cxn>
                      <a:cxn ang="0">
                        <a:pos x="238" y="170"/>
                      </a:cxn>
                      <a:cxn ang="0">
                        <a:pos x="213" y="194"/>
                      </a:cxn>
                    </a:cxnLst>
                    <a:rect l="0" t="0" r="r" b="b"/>
                    <a:pathLst>
                      <a:path w="267" h="538">
                        <a:moveTo>
                          <a:pt x="260" y="0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3" y="0"/>
                          <a:pt x="0" y="3"/>
                          <a:pt x="0" y="7"/>
                        </a:cubicBezTo>
                        <a:cubicBezTo>
                          <a:pt x="0" y="112"/>
                          <a:pt x="0" y="112"/>
                          <a:pt x="0" y="112"/>
                        </a:cubicBezTo>
                        <a:cubicBezTo>
                          <a:pt x="0" y="119"/>
                          <a:pt x="0" y="119"/>
                          <a:pt x="0" y="119"/>
                        </a:cubicBezTo>
                        <a:cubicBezTo>
                          <a:pt x="0" y="531"/>
                          <a:pt x="0" y="531"/>
                          <a:pt x="0" y="531"/>
                        </a:cubicBezTo>
                        <a:cubicBezTo>
                          <a:pt x="0" y="535"/>
                          <a:pt x="3" y="538"/>
                          <a:pt x="7" y="538"/>
                        </a:cubicBezTo>
                        <a:cubicBezTo>
                          <a:pt x="260" y="538"/>
                          <a:pt x="260" y="538"/>
                          <a:pt x="260" y="538"/>
                        </a:cubicBezTo>
                        <a:cubicBezTo>
                          <a:pt x="264" y="538"/>
                          <a:pt x="267" y="535"/>
                          <a:pt x="267" y="531"/>
                        </a:cubicBezTo>
                        <a:cubicBezTo>
                          <a:pt x="267" y="119"/>
                          <a:pt x="267" y="119"/>
                          <a:pt x="267" y="119"/>
                        </a:cubicBezTo>
                        <a:cubicBezTo>
                          <a:pt x="267" y="112"/>
                          <a:pt x="267" y="112"/>
                          <a:pt x="267" y="112"/>
                        </a:cubicBezTo>
                        <a:cubicBezTo>
                          <a:pt x="267" y="7"/>
                          <a:pt x="267" y="7"/>
                          <a:pt x="267" y="7"/>
                        </a:cubicBezTo>
                        <a:cubicBezTo>
                          <a:pt x="267" y="3"/>
                          <a:pt x="264" y="0"/>
                          <a:pt x="260" y="0"/>
                        </a:cubicBezTo>
                        <a:close/>
                        <a:moveTo>
                          <a:pt x="32" y="82"/>
                        </a:move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3"/>
                          <a:pt x="35" y="50"/>
                          <a:pt x="39" y="50"/>
                        </a:cubicBezTo>
                        <a:cubicBezTo>
                          <a:pt x="228" y="50"/>
                          <a:pt x="228" y="50"/>
                          <a:pt x="228" y="50"/>
                        </a:cubicBezTo>
                        <a:cubicBezTo>
                          <a:pt x="232" y="50"/>
                          <a:pt x="235" y="53"/>
                          <a:pt x="235" y="57"/>
                        </a:cubicBezTo>
                        <a:cubicBezTo>
                          <a:pt x="235" y="82"/>
                          <a:pt x="235" y="82"/>
                          <a:pt x="235" y="82"/>
                        </a:cubicBezTo>
                        <a:cubicBezTo>
                          <a:pt x="235" y="86"/>
                          <a:pt x="232" y="89"/>
                          <a:pt x="228" y="89"/>
                        </a:cubicBezTo>
                        <a:cubicBezTo>
                          <a:pt x="39" y="89"/>
                          <a:pt x="39" y="89"/>
                          <a:pt x="39" y="89"/>
                        </a:cubicBezTo>
                        <a:cubicBezTo>
                          <a:pt x="35" y="89"/>
                          <a:pt x="32" y="86"/>
                          <a:pt x="32" y="82"/>
                        </a:cubicBezTo>
                        <a:close/>
                        <a:moveTo>
                          <a:pt x="213" y="254"/>
                        </a:moveTo>
                        <a:cubicBezTo>
                          <a:pt x="203" y="254"/>
                          <a:pt x="195" y="246"/>
                          <a:pt x="195" y="236"/>
                        </a:cubicBezTo>
                        <a:cubicBezTo>
                          <a:pt x="195" y="226"/>
                          <a:pt x="203" y="218"/>
                          <a:pt x="213" y="218"/>
                        </a:cubicBezTo>
                        <a:cubicBezTo>
                          <a:pt x="223" y="218"/>
                          <a:pt x="232" y="226"/>
                          <a:pt x="232" y="236"/>
                        </a:cubicBezTo>
                        <a:cubicBezTo>
                          <a:pt x="232" y="246"/>
                          <a:pt x="223" y="254"/>
                          <a:pt x="213" y="254"/>
                        </a:cubicBezTo>
                        <a:close/>
                        <a:moveTo>
                          <a:pt x="213" y="194"/>
                        </a:moveTo>
                        <a:cubicBezTo>
                          <a:pt x="200" y="194"/>
                          <a:pt x="189" y="183"/>
                          <a:pt x="189" y="170"/>
                        </a:cubicBezTo>
                        <a:cubicBezTo>
                          <a:pt x="189" y="156"/>
                          <a:pt x="200" y="146"/>
                          <a:pt x="213" y="146"/>
                        </a:cubicBezTo>
                        <a:cubicBezTo>
                          <a:pt x="227" y="146"/>
                          <a:pt x="238" y="156"/>
                          <a:pt x="238" y="170"/>
                        </a:cubicBezTo>
                        <a:cubicBezTo>
                          <a:pt x="238" y="183"/>
                          <a:pt x="227" y="194"/>
                          <a:pt x="213" y="19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  <a:headEnd type="none" w="med" len="med"/>
                    <a:tailEnd type="none" w="med" len="med"/>
                  </a:ln>
                  <a:extLst/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vert="horz" wrap="square" lIns="91436" tIns="45718" rIns="91436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17040"/>
                    <a:endParaRPr lang="en-US" sz="1600" spc="-102" dirty="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0" name="Freeform 88"/>
                  <p:cNvSpPr>
                    <a:spLocks noEditPoints="1"/>
                  </p:cNvSpPr>
                  <p:nvPr/>
                </p:nvSpPr>
                <p:spPr bwMode="black">
                  <a:xfrm>
                    <a:off x="863600" y="2393157"/>
                    <a:ext cx="622300" cy="527844"/>
                  </a:xfrm>
                  <a:custGeom>
                    <a:avLst/>
                    <a:gdLst/>
                    <a:ahLst/>
                    <a:cxnLst>
                      <a:cxn ang="0">
                        <a:pos x="494" y="0"/>
                      </a:cxn>
                      <a:cxn ang="0">
                        <a:pos x="17" y="0"/>
                      </a:cxn>
                      <a:cxn ang="0">
                        <a:pos x="0" y="16"/>
                      </a:cxn>
                      <a:cxn ang="0">
                        <a:pos x="0" y="361"/>
                      </a:cxn>
                      <a:cxn ang="0">
                        <a:pos x="17" y="377"/>
                      </a:cxn>
                      <a:cxn ang="0">
                        <a:pos x="174" y="377"/>
                      </a:cxn>
                      <a:cxn ang="0">
                        <a:pos x="174" y="402"/>
                      </a:cxn>
                      <a:cxn ang="0">
                        <a:pos x="139" y="435"/>
                      </a:cxn>
                      <a:cxn ang="0">
                        <a:pos x="380" y="435"/>
                      </a:cxn>
                      <a:cxn ang="0">
                        <a:pos x="346" y="402"/>
                      </a:cxn>
                      <a:cxn ang="0">
                        <a:pos x="346" y="377"/>
                      </a:cxn>
                      <a:cxn ang="0">
                        <a:pos x="494" y="377"/>
                      </a:cxn>
                      <a:cxn ang="0">
                        <a:pos x="510" y="361"/>
                      </a:cxn>
                      <a:cxn ang="0">
                        <a:pos x="510" y="16"/>
                      </a:cxn>
                      <a:cxn ang="0">
                        <a:pos x="494" y="0"/>
                      </a:cxn>
                      <a:cxn ang="0">
                        <a:pos x="481" y="335"/>
                      </a:cxn>
                      <a:cxn ang="0">
                        <a:pos x="467" y="349"/>
                      </a:cxn>
                      <a:cxn ang="0">
                        <a:pos x="44" y="349"/>
                      </a:cxn>
                      <a:cxn ang="0">
                        <a:pos x="30" y="335"/>
                      </a:cxn>
                      <a:cxn ang="0">
                        <a:pos x="30" y="42"/>
                      </a:cxn>
                      <a:cxn ang="0">
                        <a:pos x="44" y="28"/>
                      </a:cxn>
                      <a:cxn ang="0">
                        <a:pos x="467" y="28"/>
                      </a:cxn>
                      <a:cxn ang="0">
                        <a:pos x="481" y="42"/>
                      </a:cxn>
                      <a:cxn ang="0">
                        <a:pos x="481" y="335"/>
                      </a:cxn>
                    </a:cxnLst>
                    <a:rect l="0" t="0" r="r" b="b"/>
                    <a:pathLst>
                      <a:path w="510" h="435">
                        <a:moveTo>
                          <a:pt x="494" y="0"/>
                        </a:moveTo>
                        <a:cubicBezTo>
                          <a:pt x="17" y="0"/>
                          <a:pt x="17" y="0"/>
                          <a:pt x="17" y="0"/>
                        </a:cubicBezTo>
                        <a:cubicBezTo>
                          <a:pt x="8" y="0"/>
                          <a:pt x="0" y="7"/>
                          <a:pt x="0" y="16"/>
                        </a:cubicBezTo>
                        <a:cubicBezTo>
                          <a:pt x="0" y="361"/>
                          <a:pt x="0" y="361"/>
                          <a:pt x="0" y="361"/>
                        </a:cubicBezTo>
                        <a:cubicBezTo>
                          <a:pt x="0" y="370"/>
                          <a:pt x="8" y="377"/>
                          <a:pt x="17" y="377"/>
                        </a:cubicBezTo>
                        <a:cubicBezTo>
                          <a:pt x="174" y="377"/>
                          <a:pt x="174" y="377"/>
                          <a:pt x="174" y="377"/>
                        </a:cubicBezTo>
                        <a:cubicBezTo>
                          <a:pt x="174" y="402"/>
                          <a:pt x="174" y="402"/>
                          <a:pt x="174" y="402"/>
                        </a:cubicBezTo>
                        <a:cubicBezTo>
                          <a:pt x="139" y="435"/>
                          <a:pt x="139" y="435"/>
                          <a:pt x="139" y="435"/>
                        </a:cubicBezTo>
                        <a:cubicBezTo>
                          <a:pt x="380" y="435"/>
                          <a:pt x="380" y="435"/>
                          <a:pt x="380" y="435"/>
                        </a:cubicBezTo>
                        <a:cubicBezTo>
                          <a:pt x="346" y="402"/>
                          <a:pt x="346" y="402"/>
                          <a:pt x="346" y="402"/>
                        </a:cubicBezTo>
                        <a:cubicBezTo>
                          <a:pt x="346" y="377"/>
                          <a:pt x="346" y="377"/>
                          <a:pt x="346" y="377"/>
                        </a:cubicBezTo>
                        <a:cubicBezTo>
                          <a:pt x="494" y="377"/>
                          <a:pt x="494" y="377"/>
                          <a:pt x="494" y="377"/>
                        </a:cubicBezTo>
                        <a:cubicBezTo>
                          <a:pt x="503" y="377"/>
                          <a:pt x="510" y="370"/>
                          <a:pt x="510" y="361"/>
                        </a:cubicBezTo>
                        <a:cubicBezTo>
                          <a:pt x="510" y="16"/>
                          <a:pt x="510" y="16"/>
                          <a:pt x="510" y="16"/>
                        </a:cubicBezTo>
                        <a:cubicBezTo>
                          <a:pt x="510" y="7"/>
                          <a:pt x="503" y="0"/>
                          <a:pt x="494" y="0"/>
                        </a:cubicBezTo>
                        <a:close/>
                        <a:moveTo>
                          <a:pt x="481" y="335"/>
                        </a:moveTo>
                        <a:cubicBezTo>
                          <a:pt x="481" y="343"/>
                          <a:pt x="475" y="349"/>
                          <a:pt x="467" y="349"/>
                        </a:cubicBezTo>
                        <a:cubicBezTo>
                          <a:pt x="44" y="349"/>
                          <a:pt x="44" y="349"/>
                          <a:pt x="44" y="349"/>
                        </a:cubicBezTo>
                        <a:cubicBezTo>
                          <a:pt x="36" y="349"/>
                          <a:pt x="30" y="343"/>
                          <a:pt x="30" y="335"/>
                        </a:cubicBezTo>
                        <a:cubicBezTo>
                          <a:pt x="30" y="42"/>
                          <a:pt x="30" y="42"/>
                          <a:pt x="30" y="42"/>
                        </a:cubicBezTo>
                        <a:cubicBezTo>
                          <a:pt x="30" y="34"/>
                          <a:pt x="36" y="28"/>
                          <a:pt x="44" y="28"/>
                        </a:cubicBezTo>
                        <a:cubicBezTo>
                          <a:pt x="467" y="28"/>
                          <a:pt x="467" y="28"/>
                          <a:pt x="467" y="28"/>
                        </a:cubicBezTo>
                        <a:cubicBezTo>
                          <a:pt x="475" y="28"/>
                          <a:pt x="481" y="34"/>
                          <a:pt x="481" y="42"/>
                        </a:cubicBezTo>
                        <a:lnTo>
                          <a:pt x="481" y="335"/>
                        </a:lnTo>
                        <a:close/>
                      </a:path>
                    </a:pathLst>
                  </a:custGeom>
                  <a:grpFill/>
                  <a:ln>
                    <a:noFill/>
                    <a:headEnd type="none" w="med" len="med"/>
                    <a:tailEnd type="none" w="med" len="med"/>
                  </a:ln>
                  <a:extLst/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vert="horz" wrap="square" lIns="91436" tIns="45718" rIns="91436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17040"/>
                    <a:endParaRPr lang="en-US" sz="1600" spc="-102" dirty="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</p:grpSp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3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20020" y="4392016"/>
                <a:ext cx="566587" cy="693324"/>
              </a:xfrm>
              <a:prstGeom prst="rect">
                <a:avLst/>
              </a:prstGeom>
            </p:spPr>
          </p:pic>
        </p:grpSp>
        <p:grpSp>
          <p:nvGrpSpPr>
            <p:cNvPr id="179" name="Group 178"/>
            <p:cNvGrpSpPr/>
            <p:nvPr/>
          </p:nvGrpSpPr>
          <p:grpSpPr>
            <a:xfrm>
              <a:off x="6081833" y="5444994"/>
              <a:ext cx="1608071" cy="968377"/>
              <a:chOff x="6447217" y="6115492"/>
              <a:chExt cx="1929934" cy="1162203"/>
            </a:xfrm>
          </p:grpSpPr>
          <p:sp>
            <p:nvSpPr>
              <p:cNvPr id="22" name="Rectangle 21"/>
              <p:cNvSpPr/>
              <p:nvPr/>
            </p:nvSpPr>
            <p:spPr bwMode="black">
              <a:xfrm>
                <a:off x="6476386" y="6129150"/>
                <a:ext cx="1300555" cy="95828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38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37" name="Group 36"/>
              <p:cNvGrpSpPr/>
              <p:nvPr/>
            </p:nvGrpSpPr>
            <p:grpSpPr>
              <a:xfrm>
                <a:off x="6447217" y="6115492"/>
                <a:ext cx="1929934" cy="1162203"/>
                <a:chOff x="6447217" y="6115492"/>
                <a:chExt cx="1929934" cy="1162203"/>
              </a:xfrm>
            </p:grpSpPr>
            <p:grpSp>
              <p:nvGrpSpPr>
                <p:cNvPr id="23" name="Group 22"/>
                <p:cNvGrpSpPr/>
                <p:nvPr/>
              </p:nvGrpSpPr>
              <p:grpSpPr bwMode="black">
                <a:xfrm>
                  <a:off x="6447217" y="6115492"/>
                  <a:ext cx="1929934" cy="1162203"/>
                  <a:chOff x="863600" y="2393157"/>
                  <a:chExt cx="876300" cy="527844"/>
                </a:xfrm>
                <a:solidFill>
                  <a:schemeClr val="tx2"/>
                </a:solidFill>
              </p:grpSpPr>
              <p:sp>
                <p:nvSpPr>
                  <p:cNvPr id="24" name="Freeform 23"/>
                  <p:cNvSpPr>
                    <a:spLocks noEditPoints="1"/>
                  </p:cNvSpPr>
                  <p:nvPr/>
                </p:nvSpPr>
                <p:spPr bwMode="black">
                  <a:xfrm>
                    <a:off x="1521931" y="2481334"/>
                    <a:ext cx="217969" cy="439667"/>
                  </a:xfrm>
                  <a:custGeom>
                    <a:avLst/>
                    <a:gdLst/>
                    <a:ahLst/>
                    <a:cxnLst>
                      <a:cxn ang="0">
                        <a:pos x="260" y="0"/>
                      </a:cxn>
                      <a:cxn ang="0">
                        <a:pos x="7" y="0"/>
                      </a:cxn>
                      <a:cxn ang="0">
                        <a:pos x="0" y="7"/>
                      </a:cxn>
                      <a:cxn ang="0">
                        <a:pos x="0" y="112"/>
                      </a:cxn>
                      <a:cxn ang="0">
                        <a:pos x="0" y="119"/>
                      </a:cxn>
                      <a:cxn ang="0">
                        <a:pos x="0" y="531"/>
                      </a:cxn>
                      <a:cxn ang="0">
                        <a:pos x="7" y="538"/>
                      </a:cxn>
                      <a:cxn ang="0">
                        <a:pos x="260" y="538"/>
                      </a:cxn>
                      <a:cxn ang="0">
                        <a:pos x="267" y="531"/>
                      </a:cxn>
                      <a:cxn ang="0">
                        <a:pos x="267" y="119"/>
                      </a:cxn>
                      <a:cxn ang="0">
                        <a:pos x="267" y="112"/>
                      </a:cxn>
                      <a:cxn ang="0">
                        <a:pos x="267" y="7"/>
                      </a:cxn>
                      <a:cxn ang="0">
                        <a:pos x="260" y="0"/>
                      </a:cxn>
                      <a:cxn ang="0">
                        <a:pos x="32" y="82"/>
                      </a:cxn>
                      <a:cxn ang="0">
                        <a:pos x="32" y="57"/>
                      </a:cxn>
                      <a:cxn ang="0">
                        <a:pos x="39" y="50"/>
                      </a:cxn>
                      <a:cxn ang="0">
                        <a:pos x="228" y="50"/>
                      </a:cxn>
                      <a:cxn ang="0">
                        <a:pos x="235" y="57"/>
                      </a:cxn>
                      <a:cxn ang="0">
                        <a:pos x="235" y="82"/>
                      </a:cxn>
                      <a:cxn ang="0">
                        <a:pos x="228" y="89"/>
                      </a:cxn>
                      <a:cxn ang="0">
                        <a:pos x="39" y="89"/>
                      </a:cxn>
                      <a:cxn ang="0">
                        <a:pos x="32" y="82"/>
                      </a:cxn>
                      <a:cxn ang="0">
                        <a:pos x="213" y="254"/>
                      </a:cxn>
                      <a:cxn ang="0">
                        <a:pos x="195" y="236"/>
                      </a:cxn>
                      <a:cxn ang="0">
                        <a:pos x="213" y="218"/>
                      </a:cxn>
                      <a:cxn ang="0">
                        <a:pos x="232" y="236"/>
                      </a:cxn>
                      <a:cxn ang="0">
                        <a:pos x="213" y="254"/>
                      </a:cxn>
                      <a:cxn ang="0">
                        <a:pos x="213" y="194"/>
                      </a:cxn>
                      <a:cxn ang="0">
                        <a:pos x="189" y="170"/>
                      </a:cxn>
                      <a:cxn ang="0">
                        <a:pos x="213" y="146"/>
                      </a:cxn>
                      <a:cxn ang="0">
                        <a:pos x="238" y="170"/>
                      </a:cxn>
                      <a:cxn ang="0">
                        <a:pos x="213" y="194"/>
                      </a:cxn>
                    </a:cxnLst>
                    <a:rect l="0" t="0" r="r" b="b"/>
                    <a:pathLst>
                      <a:path w="267" h="538">
                        <a:moveTo>
                          <a:pt x="260" y="0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3" y="0"/>
                          <a:pt x="0" y="3"/>
                          <a:pt x="0" y="7"/>
                        </a:cubicBezTo>
                        <a:cubicBezTo>
                          <a:pt x="0" y="112"/>
                          <a:pt x="0" y="112"/>
                          <a:pt x="0" y="112"/>
                        </a:cubicBezTo>
                        <a:cubicBezTo>
                          <a:pt x="0" y="119"/>
                          <a:pt x="0" y="119"/>
                          <a:pt x="0" y="119"/>
                        </a:cubicBezTo>
                        <a:cubicBezTo>
                          <a:pt x="0" y="531"/>
                          <a:pt x="0" y="531"/>
                          <a:pt x="0" y="531"/>
                        </a:cubicBezTo>
                        <a:cubicBezTo>
                          <a:pt x="0" y="535"/>
                          <a:pt x="3" y="538"/>
                          <a:pt x="7" y="538"/>
                        </a:cubicBezTo>
                        <a:cubicBezTo>
                          <a:pt x="260" y="538"/>
                          <a:pt x="260" y="538"/>
                          <a:pt x="260" y="538"/>
                        </a:cubicBezTo>
                        <a:cubicBezTo>
                          <a:pt x="264" y="538"/>
                          <a:pt x="267" y="535"/>
                          <a:pt x="267" y="531"/>
                        </a:cubicBezTo>
                        <a:cubicBezTo>
                          <a:pt x="267" y="119"/>
                          <a:pt x="267" y="119"/>
                          <a:pt x="267" y="119"/>
                        </a:cubicBezTo>
                        <a:cubicBezTo>
                          <a:pt x="267" y="112"/>
                          <a:pt x="267" y="112"/>
                          <a:pt x="267" y="112"/>
                        </a:cubicBezTo>
                        <a:cubicBezTo>
                          <a:pt x="267" y="7"/>
                          <a:pt x="267" y="7"/>
                          <a:pt x="267" y="7"/>
                        </a:cubicBezTo>
                        <a:cubicBezTo>
                          <a:pt x="267" y="3"/>
                          <a:pt x="264" y="0"/>
                          <a:pt x="260" y="0"/>
                        </a:cubicBezTo>
                        <a:close/>
                        <a:moveTo>
                          <a:pt x="32" y="82"/>
                        </a:move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3"/>
                          <a:pt x="35" y="50"/>
                          <a:pt x="39" y="50"/>
                        </a:cubicBezTo>
                        <a:cubicBezTo>
                          <a:pt x="228" y="50"/>
                          <a:pt x="228" y="50"/>
                          <a:pt x="228" y="50"/>
                        </a:cubicBezTo>
                        <a:cubicBezTo>
                          <a:pt x="232" y="50"/>
                          <a:pt x="235" y="53"/>
                          <a:pt x="235" y="57"/>
                        </a:cubicBezTo>
                        <a:cubicBezTo>
                          <a:pt x="235" y="82"/>
                          <a:pt x="235" y="82"/>
                          <a:pt x="235" y="82"/>
                        </a:cubicBezTo>
                        <a:cubicBezTo>
                          <a:pt x="235" y="86"/>
                          <a:pt x="232" y="89"/>
                          <a:pt x="228" y="89"/>
                        </a:cubicBezTo>
                        <a:cubicBezTo>
                          <a:pt x="39" y="89"/>
                          <a:pt x="39" y="89"/>
                          <a:pt x="39" y="89"/>
                        </a:cubicBezTo>
                        <a:cubicBezTo>
                          <a:pt x="35" y="89"/>
                          <a:pt x="32" y="86"/>
                          <a:pt x="32" y="82"/>
                        </a:cubicBezTo>
                        <a:close/>
                        <a:moveTo>
                          <a:pt x="213" y="254"/>
                        </a:moveTo>
                        <a:cubicBezTo>
                          <a:pt x="203" y="254"/>
                          <a:pt x="195" y="246"/>
                          <a:pt x="195" y="236"/>
                        </a:cubicBezTo>
                        <a:cubicBezTo>
                          <a:pt x="195" y="226"/>
                          <a:pt x="203" y="218"/>
                          <a:pt x="213" y="218"/>
                        </a:cubicBezTo>
                        <a:cubicBezTo>
                          <a:pt x="223" y="218"/>
                          <a:pt x="232" y="226"/>
                          <a:pt x="232" y="236"/>
                        </a:cubicBezTo>
                        <a:cubicBezTo>
                          <a:pt x="232" y="246"/>
                          <a:pt x="223" y="254"/>
                          <a:pt x="213" y="254"/>
                        </a:cubicBezTo>
                        <a:close/>
                        <a:moveTo>
                          <a:pt x="213" y="194"/>
                        </a:moveTo>
                        <a:cubicBezTo>
                          <a:pt x="200" y="194"/>
                          <a:pt x="189" y="183"/>
                          <a:pt x="189" y="170"/>
                        </a:cubicBezTo>
                        <a:cubicBezTo>
                          <a:pt x="189" y="156"/>
                          <a:pt x="200" y="146"/>
                          <a:pt x="213" y="146"/>
                        </a:cubicBezTo>
                        <a:cubicBezTo>
                          <a:pt x="227" y="146"/>
                          <a:pt x="238" y="156"/>
                          <a:pt x="238" y="170"/>
                        </a:cubicBezTo>
                        <a:cubicBezTo>
                          <a:pt x="238" y="183"/>
                          <a:pt x="227" y="194"/>
                          <a:pt x="213" y="19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  <a:headEnd type="none" w="med" len="med"/>
                    <a:tailEnd type="none" w="med" len="med"/>
                  </a:ln>
                  <a:extLst/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vert="horz" wrap="square" lIns="91436" tIns="45718" rIns="91436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17040"/>
                    <a:endParaRPr lang="en-US" sz="1600" spc="-102" dirty="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5" name="Freeform 88"/>
                  <p:cNvSpPr>
                    <a:spLocks noEditPoints="1"/>
                  </p:cNvSpPr>
                  <p:nvPr/>
                </p:nvSpPr>
                <p:spPr bwMode="black">
                  <a:xfrm>
                    <a:off x="863600" y="2393157"/>
                    <a:ext cx="622300" cy="527844"/>
                  </a:xfrm>
                  <a:custGeom>
                    <a:avLst/>
                    <a:gdLst/>
                    <a:ahLst/>
                    <a:cxnLst>
                      <a:cxn ang="0">
                        <a:pos x="494" y="0"/>
                      </a:cxn>
                      <a:cxn ang="0">
                        <a:pos x="17" y="0"/>
                      </a:cxn>
                      <a:cxn ang="0">
                        <a:pos x="0" y="16"/>
                      </a:cxn>
                      <a:cxn ang="0">
                        <a:pos x="0" y="361"/>
                      </a:cxn>
                      <a:cxn ang="0">
                        <a:pos x="17" y="377"/>
                      </a:cxn>
                      <a:cxn ang="0">
                        <a:pos x="174" y="377"/>
                      </a:cxn>
                      <a:cxn ang="0">
                        <a:pos x="174" y="402"/>
                      </a:cxn>
                      <a:cxn ang="0">
                        <a:pos x="139" y="435"/>
                      </a:cxn>
                      <a:cxn ang="0">
                        <a:pos x="380" y="435"/>
                      </a:cxn>
                      <a:cxn ang="0">
                        <a:pos x="346" y="402"/>
                      </a:cxn>
                      <a:cxn ang="0">
                        <a:pos x="346" y="377"/>
                      </a:cxn>
                      <a:cxn ang="0">
                        <a:pos x="494" y="377"/>
                      </a:cxn>
                      <a:cxn ang="0">
                        <a:pos x="510" y="361"/>
                      </a:cxn>
                      <a:cxn ang="0">
                        <a:pos x="510" y="16"/>
                      </a:cxn>
                      <a:cxn ang="0">
                        <a:pos x="494" y="0"/>
                      </a:cxn>
                      <a:cxn ang="0">
                        <a:pos x="481" y="335"/>
                      </a:cxn>
                      <a:cxn ang="0">
                        <a:pos x="467" y="349"/>
                      </a:cxn>
                      <a:cxn ang="0">
                        <a:pos x="44" y="349"/>
                      </a:cxn>
                      <a:cxn ang="0">
                        <a:pos x="30" y="335"/>
                      </a:cxn>
                      <a:cxn ang="0">
                        <a:pos x="30" y="42"/>
                      </a:cxn>
                      <a:cxn ang="0">
                        <a:pos x="44" y="28"/>
                      </a:cxn>
                      <a:cxn ang="0">
                        <a:pos x="467" y="28"/>
                      </a:cxn>
                      <a:cxn ang="0">
                        <a:pos x="481" y="42"/>
                      </a:cxn>
                      <a:cxn ang="0">
                        <a:pos x="481" y="335"/>
                      </a:cxn>
                    </a:cxnLst>
                    <a:rect l="0" t="0" r="r" b="b"/>
                    <a:pathLst>
                      <a:path w="510" h="435">
                        <a:moveTo>
                          <a:pt x="494" y="0"/>
                        </a:moveTo>
                        <a:cubicBezTo>
                          <a:pt x="17" y="0"/>
                          <a:pt x="17" y="0"/>
                          <a:pt x="17" y="0"/>
                        </a:cubicBezTo>
                        <a:cubicBezTo>
                          <a:pt x="8" y="0"/>
                          <a:pt x="0" y="7"/>
                          <a:pt x="0" y="16"/>
                        </a:cubicBezTo>
                        <a:cubicBezTo>
                          <a:pt x="0" y="361"/>
                          <a:pt x="0" y="361"/>
                          <a:pt x="0" y="361"/>
                        </a:cubicBezTo>
                        <a:cubicBezTo>
                          <a:pt x="0" y="370"/>
                          <a:pt x="8" y="377"/>
                          <a:pt x="17" y="377"/>
                        </a:cubicBezTo>
                        <a:cubicBezTo>
                          <a:pt x="174" y="377"/>
                          <a:pt x="174" y="377"/>
                          <a:pt x="174" y="377"/>
                        </a:cubicBezTo>
                        <a:cubicBezTo>
                          <a:pt x="174" y="402"/>
                          <a:pt x="174" y="402"/>
                          <a:pt x="174" y="402"/>
                        </a:cubicBezTo>
                        <a:cubicBezTo>
                          <a:pt x="139" y="435"/>
                          <a:pt x="139" y="435"/>
                          <a:pt x="139" y="435"/>
                        </a:cubicBezTo>
                        <a:cubicBezTo>
                          <a:pt x="380" y="435"/>
                          <a:pt x="380" y="435"/>
                          <a:pt x="380" y="435"/>
                        </a:cubicBezTo>
                        <a:cubicBezTo>
                          <a:pt x="346" y="402"/>
                          <a:pt x="346" y="402"/>
                          <a:pt x="346" y="402"/>
                        </a:cubicBezTo>
                        <a:cubicBezTo>
                          <a:pt x="346" y="377"/>
                          <a:pt x="346" y="377"/>
                          <a:pt x="346" y="377"/>
                        </a:cubicBezTo>
                        <a:cubicBezTo>
                          <a:pt x="494" y="377"/>
                          <a:pt x="494" y="377"/>
                          <a:pt x="494" y="377"/>
                        </a:cubicBezTo>
                        <a:cubicBezTo>
                          <a:pt x="503" y="377"/>
                          <a:pt x="510" y="370"/>
                          <a:pt x="510" y="361"/>
                        </a:cubicBezTo>
                        <a:cubicBezTo>
                          <a:pt x="510" y="16"/>
                          <a:pt x="510" y="16"/>
                          <a:pt x="510" y="16"/>
                        </a:cubicBezTo>
                        <a:cubicBezTo>
                          <a:pt x="510" y="7"/>
                          <a:pt x="503" y="0"/>
                          <a:pt x="494" y="0"/>
                        </a:cubicBezTo>
                        <a:close/>
                        <a:moveTo>
                          <a:pt x="481" y="335"/>
                        </a:moveTo>
                        <a:cubicBezTo>
                          <a:pt x="481" y="343"/>
                          <a:pt x="475" y="349"/>
                          <a:pt x="467" y="349"/>
                        </a:cubicBezTo>
                        <a:cubicBezTo>
                          <a:pt x="44" y="349"/>
                          <a:pt x="44" y="349"/>
                          <a:pt x="44" y="349"/>
                        </a:cubicBezTo>
                        <a:cubicBezTo>
                          <a:pt x="36" y="349"/>
                          <a:pt x="30" y="343"/>
                          <a:pt x="30" y="335"/>
                        </a:cubicBezTo>
                        <a:cubicBezTo>
                          <a:pt x="30" y="42"/>
                          <a:pt x="30" y="42"/>
                          <a:pt x="30" y="42"/>
                        </a:cubicBezTo>
                        <a:cubicBezTo>
                          <a:pt x="30" y="34"/>
                          <a:pt x="36" y="28"/>
                          <a:pt x="44" y="28"/>
                        </a:cubicBezTo>
                        <a:cubicBezTo>
                          <a:pt x="467" y="28"/>
                          <a:pt x="467" y="28"/>
                          <a:pt x="467" y="28"/>
                        </a:cubicBezTo>
                        <a:cubicBezTo>
                          <a:pt x="475" y="28"/>
                          <a:pt x="481" y="34"/>
                          <a:pt x="481" y="42"/>
                        </a:cubicBezTo>
                        <a:lnTo>
                          <a:pt x="481" y="335"/>
                        </a:lnTo>
                        <a:close/>
                      </a:path>
                    </a:pathLst>
                  </a:custGeom>
                  <a:grpFill/>
                  <a:ln>
                    <a:noFill/>
                    <a:headEnd type="none" w="med" len="med"/>
                    <a:tailEnd type="none" w="med" len="med"/>
                  </a:ln>
                  <a:extLst/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vert="horz" wrap="square" lIns="91436" tIns="45718" rIns="91436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17040"/>
                    <a:endParaRPr lang="en-US" sz="1600" spc="-102" dirty="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pic>
              <p:nvPicPr>
                <p:cNvPr id="26" name="Picture 25"/>
                <p:cNvPicPr>
                  <a:picLocks noChangeAspect="1"/>
                </p:cNvPicPr>
                <p:nvPr/>
              </p:nvPicPr>
              <p:blipFill>
                <a:blip r:embed="rId4" cstate="print">
                  <a:lum bright="70000" contrast="-70000"/>
                  <a:extLst>
                    <a:ext uri="{BEBA8EAE-BF5A-486C-A8C5-ECC9F3942E4B}">
                      <a14:imgProps xmlns:a14="http://schemas.microsoft.com/office/drawing/2010/main">
                        <a14:imgLayer r:embed="rId5">
                          <a14:imgEffect>
                            <a14:artisticPhotocopy/>
                          </a14:imgEffect>
                          <a14:imgEffect>
                            <a14:colorTemperature colorTemp="6625"/>
                          </a14:imgEffect>
                          <a14:imgEffect>
                            <a14:saturation sat="25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805997" y="6307865"/>
                  <a:ext cx="582994" cy="684534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80" name="Group 179"/>
            <p:cNvGrpSpPr/>
            <p:nvPr/>
          </p:nvGrpSpPr>
          <p:grpSpPr>
            <a:xfrm>
              <a:off x="6081833" y="6686355"/>
              <a:ext cx="1608071" cy="968377"/>
              <a:chOff x="6531216" y="7872067"/>
              <a:chExt cx="1929934" cy="1162203"/>
            </a:xfrm>
          </p:grpSpPr>
          <p:sp>
            <p:nvSpPr>
              <p:cNvPr id="29" name="Rectangle 28"/>
              <p:cNvSpPr/>
              <p:nvPr/>
            </p:nvSpPr>
            <p:spPr bwMode="black">
              <a:xfrm>
                <a:off x="6560385" y="7885725"/>
                <a:ext cx="1300555" cy="95828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38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38" name="Group 37"/>
              <p:cNvGrpSpPr/>
              <p:nvPr/>
            </p:nvGrpSpPr>
            <p:grpSpPr>
              <a:xfrm>
                <a:off x="6531216" y="7872067"/>
                <a:ext cx="1929934" cy="1162203"/>
                <a:chOff x="6531216" y="7872067"/>
                <a:chExt cx="1929934" cy="1162203"/>
              </a:xfrm>
            </p:grpSpPr>
            <p:grpSp>
              <p:nvGrpSpPr>
                <p:cNvPr id="30" name="Group 29"/>
                <p:cNvGrpSpPr/>
                <p:nvPr/>
              </p:nvGrpSpPr>
              <p:grpSpPr bwMode="black">
                <a:xfrm>
                  <a:off x="6531216" y="7872067"/>
                  <a:ext cx="1929934" cy="1162203"/>
                  <a:chOff x="863600" y="2393157"/>
                  <a:chExt cx="876300" cy="527844"/>
                </a:xfrm>
                <a:solidFill>
                  <a:schemeClr val="tx2"/>
                </a:solidFill>
              </p:grpSpPr>
              <p:sp>
                <p:nvSpPr>
                  <p:cNvPr id="31" name="Freeform 30"/>
                  <p:cNvSpPr>
                    <a:spLocks noEditPoints="1"/>
                  </p:cNvSpPr>
                  <p:nvPr/>
                </p:nvSpPr>
                <p:spPr bwMode="black">
                  <a:xfrm>
                    <a:off x="1521931" y="2481334"/>
                    <a:ext cx="217969" cy="439667"/>
                  </a:xfrm>
                  <a:custGeom>
                    <a:avLst/>
                    <a:gdLst/>
                    <a:ahLst/>
                    <a:cxnLst>
                      <a:cxn ang="0">
                        <a:pos x="260" y="0"/>
                      </a:cxn>
                      <a:cxn ang="0">
                        <a:pos x="7" y="0"/>
                      </a:cxn>
                      <a:cxn ang="0">
                        <a:pos x="0" y="7"/>
                      </a:cxn>
                      <a:cxn ang="0">
                        <a:pos x="0" y="112"/>
                      </a:cxn>
                      <a:cxn ang="0">
                        <a:pos x="0" y="119"/>
                      </a:cxn>
                      <a:cxn ang="0">
                        <a:pos x="0" y="531"/>
                      </a:cxn>
                      <a:cxn ang="0">
                        <a:pos x="7" y="538"/>
                      </a:cxn>
                      <a:cxn ang="0">
                        <a:pos x="260" y="538"/>
                      </a:cxn>
                      <a:cxn ang="0">
                        <a:pos x="267" y="531"/>
                      </a:cxn>
                      <a:cxn ang="0">
                        <a:pos x="267" y="119"/>
                      </a:cxn>
                      <a:cxn ang="0">
                        <a:pos x="267" y="112"/>
                      </a:cxn>
                      <a:cxn ang="0">
                        <a:pos x="267" y="7"/>
                      </a:cxn>
                      <a:cxn ang="0">
                        <a:pos x="260" y="0"/>
                      </a:cxn>
                      <a:cxn ang="0">
                        <a:pos x="32" y="82"/>
                      </a:cxn>
                      <a:cxn ang="0">
                        <a:pos x="32" y="57"/>
                      </a:cxn>
                      <a:cxn ang="0">
                        <a:pos x="39" y="50"/>
                      </a:cxn>
                      <a:cxn ang="0">
                        <a:pos x="228" y="50"/>
                      </a:cxn>
                      <a:cxn ang="0">
                        <a:pos x="235" y="57"/>
                      </a:cxn>
                      <a:cxn ang="0">
                        <a:pos x="235" y="82"/>
                      </a:cxn>
                      <a:cxn ang="0">
                        <a:pos x="228" y="89"/>
                      </a:cxn>
                      <a:cxn ang="0">
                        <a:pos x="39" y="89"/>
                      </a:cxn>
                      <a:cxn ang="0">
                        <a:pos x="32" y="82"/>
                      </a:cxn>
                      <a:cxn ang="0">
                        <a:pos x="213" y="254"/>
                      </a:cxn>
                      <a:cxn ang="0">
                        <a:pos x="195" y="236"/>
                      </a:cxn>
                      <a:cxn ang="0">
                        <a:pos x="213" y="218"/>
                      </a:cxn>
                      <a:cxn ang="0">
                        <a:pos x="232" y="236"/>
                      </a:cxn>
                      <a:cxn ang="0">
                        <a:pos x="213" y="254"/>
                      </a:cxn>
                      <a:cxn ang="0">
                        <a:pos x="213" y="194"/>
                      </a:cxn>
                      <a:cxn ang="0">
                        <a:pos x="189" y="170"/>
                      </a:cxn>
                      <a:cxn ang="0">
                        <a:pos x="213" y="146"/>
                      </a:cxn>
                      <a:cxn ang="0">
                        <a:pos x="238" y="170"/>
                      </a:cxn>
                      <a:cxn ang="0">
                        <a:pos x="213" y="194"/>
                      </a:cxn>
                    </a:cxnLst>
                    <a:rect l="0" t="0" r="r" b="b"/>
                    <a:pathLst>
                      <a:path w="267" h="538">
                        <a:moveTo>
                          <a:pt x="260" y="0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3" y="0"/>
                          <a:pt x="0" y="3"/>
                          <a:pt x="0" y="7"/>
                        </a:cubicBezTo>
                        <a:cubicBezTo>
                          <a:pt x="0" y="112"/>
                          <a:pt x="0" y="112"/>
                          <a:pt x="0" y="112"/>
                        </a:cubicBezTo>
                        <a:cubicBezTo>
                          <a:pt x="0" y="119"/>
                          <a:pt x="0" y="119"/>
                          <a:pt x="0" y="119"/>
                        </a:cubicBezTo>
                        <a:cubicBezTo>
                          <a:pt x="0" y="531"/>
                          <a:pt x="0" y="531"/>
                          <a:pt x="0" y="531"/>
                        </a:cubicBezTo>
                        <a:cubicBezTo>
                          <a:pt x="0" y="535"/>
                          <a:pt x="3" y="538"/>
                          <a:pt x="7" y="538"/>
                        </a:cubicBezTo>
                        <a:cubicBezTo>
                          <a:pt x="260" y="538"/>
                          <a:pt x="260" y="538"/>
                          <a:pt x="260" y="538"/>
                        </a:cubicBezTo>
                        <a:cubicBezTo>
                          <a:pt x="264" y="538"/>
                          <a:pt x="267" y="535"/>
                          <a:pt x="267" y="531"/>
                        </a:cubicBezTo>
                        <a:cubicBezTo>
                          <a:pt x="267" y="119"/>
                          <a:pt x="267" y="119"/>
                          <a:pt x="267" y="119"/>
                        </a:cubicBezTo>
                        <a:cubicBezTo>
                          <a:pt x="267" y="112"/>
                          <a:pt x="267" y="112"/>
                          <a:pt x="267" y="112"/>
                        </a:cubicBezTo>
                        <a:cubicBezTo>
                          <a:pt x="267" y="7"/>
                          <a:pt x="267" y="7"/>
                          <a:pt x="267" y="7"/>
                        </a:cubicBezTo>
                        <a:cubicBezTo>
                          <a:pt x="267" y="3"/>
                          <a:pt x="264" y="0"/>
                          <a:pt x="260" y="0"/>
                        </a:cubicBezTo>
                        <a:close/>
                        <a:moveTo>
                          <a:pt x="32" y="82"/>
                        </a:move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3"/>
                          <a:pt x="35" y="50"/>
                          <a:pt x="39" y="50"/>
                        </a:cubicBezTo>
                        <a:cubicBezTo>
                          <a:pt x="228" y="50"/>
                          <a:pt x="228" y="50"/>
                          <a:pt x="228" y="50"/>
                        </a:cubicBezTo>
                        <a:cubicBezTo>
                          <a:pt x="232" y="50"/>
                          <a:pt x="235" y="53"/>
                          <a:pt x="235" y="57"/>
                        </a:cubicBezTo>
                        <a:cubicBezTo>
                          <a:pt x="235" y="82"/>
                          <a:pt x="235" y="82"/>
                          <a:pt x="235" y="82"/>
                        </a:cubicBezTo>
                        <a:cubicBezTo>
                          <a:pt x="235" y="86"/>
                          <a:pt x="232" y="89"/>
                          <a:pt x="228" y="89"/>
                        </a:cubicBezTo>
                        <a:cubicBezTo>
                          <a:pt x="39" y="89"/>
                          <a:pt x="39" y="89"/>
                          <a:pt x="39" y="89"/>
                        </a:cubicBezTo>
                        <a:cubicBezTo>
                          <a:pt x="35" y="89"/>
                          <a:pt x="32" y="86"/>
                          <a:pt x="32" y="82"/>
                        </a:cubicBezTo>
                        <a:close/>
                        <a:moveTo>
                          <a:pt x="213" y="254"/>
                        </a:moveTo>
                        <a:cubicBezTo>
                          <a:pt x="203" y="254"/>
                          <a:pt x="195" y="246"/>
                          <a:pt x="195" y="236"/>
                        </a:cubicBezTo>
                        <a:cubicBezTo>
                          <a:pt x="195" y="226"/>
                          <a:pt x="203" y="218"/>
                          <a:pt x="213" y="218"/>
                        </a:cubicBezTo>
                        <a:cubicBezTo>
                          <a:pt x="223" y="218"/>
                          <a:pt x="232" y="226"/>
                          <a:pt x="232" y="236"/>
                        </a:cubicBezTo>
                        <a:cubicBezTo>
                          <a:pt x="232" y="246"/>
                          <a:pt x="223" y="254"/>
                          <a:pt x="213" y="254"/>
                        </a:cubicBezTo>
                        <a:close/>
                        <a:moveTo>
                          <a:pt x="213" y="194"/>
                        </a:moveTo>
                        <a:cubicBezTo>
                          <a:pt x="200" y="194"/>
                          <a:pt x="189" y="183"/>
                          <a:pt x="189" y="170"/>
                        </a:cubicBezTo>
                        <a:cubicBezTo>
                          <a:pt x="189" y="156"/>
                          <a:pt x="200" y="146"/>
                          <a:pt x="213" y="146"/>
                        </a:cubicBezTo>
                        <a:cubicBezTo>
                          <a:pt x="227" y="146"/>
                          <a:pt x="238" y="156"/>
                          <a:pt x="238" y="170"/>
                        </a:cubicBezTo>
                        <a:cubicBezTo>
                          <a:pt x="238" y="183"/>
                          <a:pt x="227" y="194"/>
                          <a:pt x="213" y="19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  <a:headEnd type="none" w="med" len="med"/>
                    <a:tailEnd type="none" w="med" len="med"/>
                  </a:ln>
                  <a:extLst/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vert="horz" wrap="square" lIns="91436" tIns="45718" rIns="91436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17040"/>
                    <a:endParaRPr lang="en-US" sz="1600" spc="-102" dirty="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2" name="Freeform 88"/>
                  <p:cNvSpPr>
                    <a:spLocks noEditPoints="1"/>
                  </p:cNvSpPr>
                  <p:nvPr/>
                </p:nvSpPr>
                <p:spPr bwMode="black">
                  <a:xfrm>
                    <a:off x="863600" y="2393157"/>
                    <a:ext cx="622300" cy="527844"/>
                  </a:xfrm>
                  <a:custGeom>
                    <a:avLst/>
                    <a:gdLst/>
                    <a:ahLst/>
                    <a:cxnLst>
                      <a:cxn ang="0">
                        <a:pos x="494" y="0"/>
                      </a:cxn>
                      <a:cxn ang="0">
                        <a:pos x="17" y="0"/>
                      </a:cxn>
                      <a:cxn ang="0">
                        <a:pos x="0" y="16"/>
                      </a:cxn>
                      <a:cxn ang="0">
                        <a:pos x="0" y="361"/>
                      </a:cxn>
                      <a:cxn ang="0">
                        <a:pos x="17" y="377"/>
                      </a:cxn>
                      <a:cxn ang="0">
                        <a:pos x="174" y="377"/>
                      </a:cxn>
                      <a:cxn ang="0">
                        <a:pos x="174" y="402"/>
                      </a:cxn>
                      <a:cxn ang="0">
                        <a:pos x="139" y="435"/>
                      </a:cxn>
                      <a:cxn ang="0">
                        <a:pos x="380" y="435"/>
                      </a:cxn>
                      <a:cxn ang="0">
                        <a:pos x="346" y="402"/>
                      </a:cxn>
                      <a:cxn ang="0">
                        <a:pos x="346" y="377"/>
                      </a:cxn>
                      <a:cxn ang="0">
                        <a:pos x="494" y="377"/>
                      </a:cxn>
                      <a:cxn ang="0">
                        <a:pos x="510" y="361"/>
                      </a:cxn>
                      <a:cxn ang="0">
                        <a:pos x="510" y="16"/>
                      </a:cxn>
                      <a:cxn ang="0">
                        <a:pos x="494" y="0"/>
                      </a:cxn>
                      <a:cxn ang="0">
                        <a:pos x="481" y="335"/>
                      </a:cxn>
                      <a:cxn ang="0">
                        <a:pos x="467" y="349"/>
                      </a:cxn>
                      <a:cxn ang="0">
                        <a:pos x="44" y="349"/>
                      </a:cxn>
                      <a:cxn ang="0">
                        <a:pos x="30" y="335"/>
                      </a:cxn>
                      <a:cxn ang="0">
                        <a:pos x="30" y="42"/>
                      </a:cxn>
                      <a:cxn ang="0">
                        <a:pos x="44" y="28"/>
                      </a:cxn>
                      <a:cxn ang="0">
                        <a:pos x="467" y="28"/>
                      </a:cxn>
                      <a:cxn ang="0">
                        <a:pos x="481" y="42"/>
                      </a:cxn>
                      <a:cxn ang="0">
                        <a:pos x="481" y="335"/>
                      </a:cxn>
                    </a:cxnLst>
                    <a:rect l="0" t="0" r="r" b="b"/>
                    <a:pathLst>
                      <a:path w="510" h="435">
                        <a:moveTo>
                          <a:pt x="494" y="0"/>
                        </a:moveTo>
                        <a:cubicBezTo>
                          <a:pt x="17" y="0"/>
                          <a:pt x="17" y="0"/>
                          <a:pt x="17" y="0"/>
                        </a:cubicBezTo>
                        <a:cubicBezTo>
                          <a:pt x="8" y="0"/>
                          <a:pt x="0" y="7"/>
                          <a:pt x="0" y="16"/>
                        </a:cubicBezTo>
                        <a:cubicBezTo>
                          <a:pt x="0" y="361"/>
                          <a:pt x="0" y="361"/>
                          <a:pt x="0" y="361"/>
                        </a:cubicBezTo>
                        <a:cubicBezTo>
                          <a:pt x="0" y="370"/>
                          <a:pt x="8" y="377"/>
                          <a:pt x="17" y="377"/>
                        </a:cubicBezTo>
                        <a:cubicBezTo>
                          <a:pt x="174" y="377"/>
                          <a:pt x="174" y="377"/>
                          <a:pt x="174" y="377"/>
                        </a:cubicBezTo>
                        <a:cubicBezTo>
                          <a:pt x="174" y="402"/>
                          <a:pt x="174" y="402"/>
                          <a:pt x="174" y="402"/>
                        </a:cubicBezTo>
                        <a:cubicBezTo>
                          <a:pt x="139" y="435"/>
                          <a:pt x="139" y="435"/>
                          <a:pt x="139" y="435"/>
                        </a:cubicBezTo>
                        <a:cubicBezTo>
                          <a:pt x="380" y="435"/>
                          <a:pt x="380" y="435"/>
                          <a:pt x="380" y="435"/>
                        </a:cubicBezTo>
                        <a:cubicBezTo>
                          <a:pt x="346" y="402"/>
                          <a:pt x="346" y="402"/>
                          <a:pt x="346" y="402"/>
                        </a:cubicBezTo>
                        <a:cubicBezTo>
                          <a:pt x="346" y="377"/>
                          <a:pt x="346" y="377"/>
                          <a:pt x="346" y="377"/>
                        </a:cubicBezTo>
                        <a:cubicBezTo>
                          <a:pt x="494" y="377"/>
                          <a:pt x="494" y="377"/>
                          <a:pt x="494" y="377"/>
                        </a:cubicBezTo>
                        <a:cubicBezTo>
                          <a:pt x="503" y="377"/>
                          <a:pt x="510" y="370"/>
                          <a:pt x="510" y="361"/>
                        </a:cubicBezTo>
                        <a:cubicBezTo>
                          <a:pt x="510" y="16"/>
                          <a:pt x="510" y="16"/>
                          <a:pt x="510" y="16"/>
                        </a:cubicBezTo>
                        <a:cubicBezTo>
                          <a:pt x="510" y="7"/>
                          <a:pt x="503" y="0"/>
                          <a:pt x="494" y="0"/>
                        </a:cubicBezTo>
                        <a:close/>
                        <a:moveTo>
                          <a:pt x="481" y="335"/>
                        </a:moveTo>
                        <a:cubicBezTo>
                          <a:pt x="481" y="343"/>
                          <a:pt x="475" y="349"/>
                          <a:pt x="467" y="349"/>
                        </a:cubicBezTo>
                        <a:cubicBezTo>
                          <a:pt x="44" y="349"/>
                          <a:pt x="44" y="349"/>
                          <a:pt x="44" y="349"/>
                        </a:cubicBezTo>
                        <a:cubicBezTo>
                          <a:pt x="36" y="349"/>
                          <a:pt x="30" y="343"/>
                          <a:pt x="30" y="335"/>
                        </a:cubicBezTo>
                        <a:cubicBezTo>
                          <a:pt x="30" y="42"/>
                          <a:pt x="30" y="42"/>
                          <a:pt x="30" y="42"/>
                        </a:cubicBezTo>
                        <a:cubicBezTo>
                          <a:pt x="30" y="34"/>
                          <a:pt x="36" y="28"/>
                          <a:pt x="44" y="28"/>
                        </a:cubicBezTo>
                        <a:cubicBezTo>
                          <a:pt x="467" y="28"/>
                          <a:pt x="467" y="28"/>
                          <a:pt x="467" y="28"/>
                        </a:cubicBezTo>
                        <a:cubicBezTo>
                          <a:pt x="475" y="28"/>
                          <a:pt x="481" y="34"/>
                          <a:pt x="481" y="42"/>
                        </a:cubicBezTo>
                        <a:lnTo>
                          <a:pt x="481" y="335"/>
                        </a:lnTo>
                        <a:close/>
                      </a:path>
                    </a:pathLst>
                  </a:custGeom>
                  <a:grpFill/>
                  <a:ln>
                    <a:noFill/>
                    <a:headEnd type="none" w="med" len="med"/>
                    <a:tailEnd type="none" w="med" len="med"/>
                  </a:ln>
                  <a:extLst/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vert="horz" wrap="square" lIns="91436" tIns="45718" rIns="91436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17040"/>
                    <a:endParaRPr lang="en-US" sz="1600" spc="-102" dirty="0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pic>
              <p:nvPicPr>
                <p:cNvPr id="33" name="Picture 32"/>
                <p:cNvPicPr>
                  <a:picLocks noChangeAspect="1"/>
                </p:cNvPicPr>
                <p:nvPr/>
              </p:nvPicPr>
              <p:blipFill rotWithShape="1">
                <a:blip r:embed="rId6" cstate="print">
                  <a:lum bright="70000" contrast="-70000"/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rightnessContrast bright="-20000" contrast="-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85413"/>
                <a:stretch/>
              </p:blipFill>
              <p:spPr>
                <a:xfrm>
                  <a:off x="6823350" y="8066214"/>
                  <a:ext cx="786263" cy="626525"/>
                </a:xfrm>
                <a:prstGeom prst="rect">
                  <a:avLst/>
                </a:prstGeom>
              </p:spPr>
            </p:pic>
          </p:grpSp>
        </p:grpSp>
        <p:sp>
          <p:nvSpPr>
            <p:cNvPr id="4" name="Rectangle 3"/>
            <p:cNvSpPr/>
            <p:nvPr/>
          </p:nvSpPr>
          <p:spPr>
            <a:xfrm>
              <a:off x="7695086" y="4362907"/>
              <a:ext cx="1459886" cy="4062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591"/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</a:rPr>
                <a:t>GIT : FTP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7695086" y="5605284"/>
              <a:ext cx="1459886" cy="4062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591"/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</a:rPr>
                <a:t>GIT : FTP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7695086" y="6829988"/>
              <a:ext cx="1459886" cy="4062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591"/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</a:rPr>
                <a:t>GIT : FTP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9173460" y="6829988"/>
              <a:ext cx="3696806" cy="4062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591"/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</a:rPr>
                <a:t>Web Deploy : TFS Deploy 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679262" y="4763017"/>
              <a:ext cx="4557659" cy="7017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591"/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cs typeface="Consolas" pitchFamily="49" charset="0"/>
                </a:rPr>
                <a:t>1010111001010101010001010100011</a:t>
              </a:r>
              <a:endParaRPr lang="en-US" sz="16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7679263" y="6003963"/>
              <a:ext cx="4557659" cy="7017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591"/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cs typeface="Consolas" pitchFamily="49" charset="0"/>
                </a:rPr>
                <a:t>1010111001010101010001010100011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679262" y="7249232"/>
              <a:ext cx="4601201" cy="7017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591"/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cs typeface="Consolas" pitchFamily="49" charset="0"/>
                </a:rPr>
                <a:t>1010111001010101010001010100011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-23232"/>
            <a:ext cx="9144000" cy="1399032"/>
          </a:xfrm>
        </p:spPr>
        <p:txBody>
          <a:bodyPr>
            <a:normAutofit/>
          </a:bodyPr>
          <a:lstStyle/>
          <a:p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evelopment </a:t>
            </a:r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Environments </a:t>
            </a:r>
            <a:endParaRPr lang="en-IE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00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7129415"/>
              </p:ext>
            </p:extLst>
          </p:nvPr>
        </p:nvGraphicFramePr>
        <p:xfrm>
          <a:off x="0" y="10"/>
          <a:ext cx="11909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10"/>
                        <a:ext cx="119094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/>
        </p:nvGrpSpPr>
        <p:grpSpPr>
          <a:xfrm>
            <a:off x="1369228" y="3064030"/>
            <a:ext cx="978892" cy="2663263"/>
            <a:chOff x="1901190" y="3130296"/>
            <a:chExt cx="1304849" cy="2286000"/>
          </a:xfrm>
        </p:grpSpPr>
        <p:sp>
          <p:nvSpPr>
            <p:cNvPr id="145" name="Rectangle 144"/>
            <p:cNvSpPr/>
            <p:nvPr>
              <p:custDataLst>
                <p:tags r:id="rId9"/>
              </p:custDataLst>
            </p:nvPr>
          </p:nvSpPr>
          <p:spPr bwMode="auto">
            <a:xfrm>
              <a:off x="1901190" y="3130296"/>
              <a:ext cx="1304849" cy="228600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6094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8247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</a:pPr>
              <a:r>
                <a:rPr lang="en-US" sz="11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Develop </a:t>
              </a:r>
              <a:br>
                <a:rPr lang="en-US" sz="11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</a:br>
              <a:r>
                <a:rPr lang="en-US" sz="11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and Test </a:t>
              </a:r>
            </a:p>
          </p:txBody>
        </p:sp>
        <p:pic>
          <p:nvPicPr>
            <p:cNvPr id="146" name="Picture 145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4735" y="4008252"/>
              <a:ext cx="883478" cy="530087"/>
            </a:xfrm>
            <a:prstGeom prst="rect">
              <a:avLst/>
            </a:prstGeom>
          </p:spPr>
        </p:pic>
      </p:grpSp>
      <p:grpSp>
        <p:nvGrpSpPr>
          <p:cNvPr id="147" name="Group 146"/>
          <p:cNvGrpSpPr/>
          <p:nvPr/>
        </p:nvGrpSpPr>
        <p:grpSpPr>
          <a:xfrm>
            <a:off x="287113" y="3064031"/>
            <a:ext cx="1014935" cy="2675908"/>
            <a:chOff x="462343" y="3119443"/>
            <a:chExt cx="1352894" cy="2296854"/>
          </a:xfrm>
        </p:grpSpPr>
        <p:sp>
          <p:nvSpPr>
            <p:cNvPr id="148" name="Rectangle 147"/>
            <p:cNvSpPr/>
            <p:nvPr>
              <p:custDataLst>
                <p:tags r:id="rId8"/>
              </p:custDataLst>
            </p:nvPr>
          </p:nvSpPr>
          <p:spPr bwMode="auto">
            <a:xfrm>
              <a:off x="462343" y="3119443"/>
              <a:ext cx="1352894" cy="2296854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6094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8247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</a:pPr>
              <a:r>
                <a:rPr lang="en-US" sz="11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Migrating existing </a:t>
              </a:r>
              <a:r>
                <a:rPr lang="en-US" sz="11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apps</a:t>
              </a:r>
              <a:endParaRPr lang="en-US" sz="1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endParaRPr>
            </a:p>
            <a:p>
              <a:pPr defTabSz="1218247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</a:pPr>
              <a:endParaRPr lang="en-US" sz="1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endParaRPr>
            </a:p>
            <a:p>
              <a:pPr defTabSz="1218247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</a:pPr>
              <a:endParaRPr lang="en-US" sz="1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endParaRPr>
            </a:p>
          </p:txBody>
        </p:sp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1524" y="4067151"/>
              <a:ext cx="602577" cy="471188"/>
            </a:xfrm>
            <a:prstGeom prst="rect">
              <a:avLst/>
            </a:prstGeom>
          </p:spPr>
        </p:pic>
      </p:grpSp>
      <p:sp>
        <p:nvSpPr>
          <p:cNvPr id="150" name="Rectangle 149"/>
          <p:cNvSpPr/>
          <p:nvPr>
            <p:custDataLst>
              <p:tags r:id="rId3"/>
            </p:custDataLst>
          </p:nvPr>
        </p:nvSpPr>
        <p:spPr bwMode="auto">
          <a:xfrm>
            <a:off x="287113" y="5720427"/>
            <a:ext cx="8532123" cy="350826"/>
          </a:xfrm>
          <a:prstGeom prst="rect">
            <a:avLst/>
          </a:prstGeom>
          <a:solidFill>
            <a:schemeClr val="accent5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0" tIns="73130" rIns="0" bIns="54847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1218247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en-US" sz="1600" cap="all" spc="2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KEY </a:t>
            </a:r>
            <a:r>
              <a:rPr lang="en-US" sz="1600" cap="all" spc="2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SCENARIOS</a:t>
            </a:r>
            <a:endParaRPr lang="en-US" sz="1600" cap="all" spc="2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bg1"/>
              </a:solidFill>
              <a:latin typeface="Calibri" panose="020F0502020204030204" pitchFamily="34" charset="0"/>
              <a:cs typeface="Segoe UI" pitchFamily="34" charset="0"/>
            </a:endParaRPr>
          </a:p>
        </p:txBody>
      </p:sp>
      <p:grpSp>
        <p:nvGrpSpPr>
          <p:cNvPr id="151" name="Group 150"/>
          <p:cNvGrpSpPr/>
          <p:nvPr/>
        </p:nvGrpSpPr>
        <p:grpSpPr>
          <a:xfrm>
            <a:off x="4631021" y="3064030"/>
            <a:ext cx="2023637" cy="2699727"/>
            <a:chOff x="6203706" y="3098998"/>
            <a:chExt cx="2697480" cy="2317298"/>
          </a:xfrm>
        </p:grpSpPr>
        <p:sp>
          <p:nvSpPr>
            <p:cNvPr id="152" name="Rectangle 151"/>
            <p:cNvSpPr/>
            <p:nvPr>
              <p:custDataLst>
                <p:tags r:id="rId7"/>
              </p:custDataLst>
            </p:nvPr>
          </p:nvSpPr>
          <p:spPr bwMode="auto">
            <a:xfrm>
              <a:off x="6203706" y="3098998"/>
              <a:ext cx="2697480" cy="2317298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6094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8247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</a:pPr>
              <a:r>
                <a:rPr lang="en-US" sz="11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New cloud designed applications</a:t>
              </a:r>
            </a:p>
          </p:txBody>
        </p:sp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18106" y="3950931"/>
              <a:ext cx="868680" cy="603839"/>
            </a:xfrm>
            <a:prstGeom prst="rect">
              <a:avLst/>
            </a:prstGeom>
          </p:spPr>
        </p:pic>
      </p:grpSp>
      <p:grpSp>
        <p:nvGrpSpPr>
          <p:cNvPr id="154" name="Group 153"/>
          <p:cNvGrpSpPr/>
          <p:nvPr/>
        </p:nvGrpSpPr>
        <p:grpSpPr>
          <a:xfrm>
            <a:off x="2417010" y="3064030"/>
            <a:ext cx="978892" cy="2663263"/>
            <a:chOff x="3291992" y="3130296"/>
            <a:chExt cx="1304849" cy="2286000"/>
          </a:xfrm>
        </p:grpSpPr>
        <p:sp>
          <p:nvSpPr>
            <p:cNvPr id="155" name="Rectangle 154"/>
            <p:cNvSpPr/>
            <p:nvPr>
              <p:custDataLst>
                <p:tags r:id="rId6"/>
              </p:custDataLst>
            </p:nvPr>
          </p:nvSpPr>
          <p:spPr bwMode="auto">
            <a:xfrm>
              <a:off x="3291992" y="3130296"/>
              <a:ext cx="1304849" cy="228600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6094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8247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</a:pPr>
              <a:r>
                <a:rPr lang="en-US" sz="11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VM Backup to the cloud </a:t>
              </a:r>
              <a:r>
                <a:rPr lang="en-US" sz="11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for Disaster </a:t>
              </a:r>
              <a:r>
                <a:rPr lang="en-US" sz="11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Recovery</a:t>
              </a:r>
            </a:p>
          </p:txBody>
        </p:sp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3839" y="4059028"/>
              <a:ext cx="1041155" cy="428534"/>
            </a:xfrm>
            <a:prstGeom prst="rect">
              <a:avLst/>
            </a:prstGeom>
          </p:spPr>
        </p:pic>
      </p:grpSp>
      <p:grpSp>
        <p:nvGrpSpPr>
          <p:cNvPr id="157" name="Group 156"/>
          <p:cNvGrpSpPr/>
          <p:nvPr/>
        </p:nvGrpSpPr>
        <p:grpSpPr>
          <a:xfrm>
            <a:off x="3488655" y="3064030"/>
            <a:ext cx="978892" cy="2663263"/>
            <a:chOff x="4682795" y="3130296"/>
            <a:chExt cx="1304849" cy="2286000"/>
          </a:xfrm>
        </p:grpSpPr>
        <p:sp>
          <p:nvSpPr>
            <p:cNvPr id="158" name="Rectangle 157"/>
            <p:cNvSpPr/>
            <p:nvPr>
              <p:custDataLst>
                <p:tags r:id="rId5"/>
              </p:custDataLst>
            </p:nvPr>
          </p:nvSpPr>
          <p:spPr bwMode="auto">
            <a:xfrm>
              <a:off x="4682795" y="3130296"/>
              <a:ext cx="1304849" cy="228600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6094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8247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</a:pPr>
              <a:r>
                <a:rPr lang="en-US" sz="11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Hybrid</a:t>
              </a:r>
            </a:p>
          </p:txBody>
        </p:sp>
        <p:pic>
          <p:nvPicPr>
            <p:cNvPr id="159" name="Picture 158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3797" y="3874686"/>
              <a:ext cx="962845" cy="756329"/>
            </a:xfrm>
            <a:prstGeom prst="rect">
              <a:avLst/>
            </a:prstGeom>
          </p:spPr>
        </p:pic>
      </p:grpSp>
      <p:grpSp>
        <p:nvGrpSpPr>
          <p:cNvPr id="160" name="Group 159"/>
          <p:cNvGrpSpPr/>
          <p:nvPr/>
        </p:nvGrpSpPr>
        <p:grpSpPr>
          <a:xfrm>
            <a:off x="6795646" y="3064030"/>
            <a:ext cx="2023637" cy="2699728"/>
            <a:chOff x="8983482" y="3098997"/>
            <a:chExt cx="2697480" cy="2317300"/>
          </a:xfrm>
        </p:grpSpPr>
        <p:sp>
          <p:nvSpPr>
            <p:cNvPr id="161" name="Rectangle 160"/>
            <p:cNvSpPr/>
            <p:nvPr>
              <p:custDataLst>
                <p:tags r:id="rId4"/>
              </p:custDataLst>
            </p:nvPr>
          </p:nvSpPr>
          <p:spPr bwMode="auto">
            <a:xfrm>
              <a:off x="8983482" y="3098997"/>
              <a:ext cx="2697480" cy="231730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91440" rIns="91440" bIns="6094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8247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</a:pPr>
              <a:r>
                <a:rPr lang="en-US" sz="11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  <a:cs typeface="Segoe UI" pitchFamily="34" charset="0"/>
                </a:rPr>
                <a:t>Hybrid </a:t>
              </a:r>
            </a:p>
          </p:txBody>
        </p:sp>
        <p:pic>
          <p:nvPicPr>
            <p:cNvPr id="164" name="Picture 163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50800" y="3874686"/>
              <a:ext cx="962845" cy="756329"/>
            </a:xfrm>
            <a:prstGeom prst="rect">
              <a:avLst/>
            </a:prstGeom>
          </p:spPr>
        </p:pic>
      </p:grpSp>
      <p:sp>
        <p:nvSpPr>
          <p:cNvPr id="167" name="Rectangle 166"/>
          <p:cNvSpPr/>
          <p:nvPr/>
        </p:nvSpPr>
        <p:spPr bwMode="auto">
          <a:xfrm>
            <a:off x="287113" y="1628800"/>
            <a:ext cx="4177380" cy="1316736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13" tIns="868418" rIns="91413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218247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rgbClr val="FFFF99"/>
              </a:buClr>
              <a:buSzPct val="120000"/>
            </a:pPr>
            <a:r>
              <a: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Windows Azure Virtual Machine</a:t>
            </a:r>
          </a:p>
        </p:txBody>
      </p:sp>
      <p:sp>
        <p:nvSpPr>
          <p:cNvPr id="264" name="Rectangle 263"/>
          <p:cNvSpPr/>
          <p:nvPr/>
        </p:nvSpPr>
        <p:spPr bwMode="auto">
          <a:xfrm>
            <a:off x="4631021" y="1636265"/>
            <a:ext cx="4184054" cy="1316736"/>
          </a:xfrm>
          <a:prstGeom prst="rect">
            <a:avLst/>
          </a:prstGeom>
          <a:solidFill>
            <a:schemeClr val="accent1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13" tIns="868418" rIns="91413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218247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rgbClr val="FFFF99"/>
              </a:buClr>
              <a:buSzPct val="120000"/>
            </a:pPr>
            <a:r>
              <a: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Windows Azure Cloud Services </a:t>
            </a:r>
            <a:endParaRPr lang="fi-FI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bg1"/>
              </a:solidFill>
              <a:latin typeface="Calibri" panose="020F0502020204030204" pitchFamily="34" charset="0"/>
              <a:cs typeface="Segoe UI" pitchFamily="34" charset="0"/>
            </a:endParaRPr>
          </a:p>
        </p:txBody>
      </p:sp>
      <p:sp>
        <p:nvSpPr>
          <p:cNvPr id="271" name="Rectangle 270"/>
          <p:cNvSpPr/>
          <p:nvPr/>
        </p:nvSpPr>
        <p:spPr>
          <a:xfrm>
            <a:off x="3495563" y="5339025"/>
            <a:ext cx="978892" cy="397006"/>
          </a:xfrm>
          <a:prstGeom prst="rect">
            <a:avLst/>
          </a:prstGeom>
        </p:spPr>
        <p:txBody>
          <a:bodyPr wrap="square" lIns="91413" tIns="45707" rIns="91413" bIns="45707">
            <a:spAutoFit/>
          </a:bodyPr>
          <a:lstStyle/>
          <a:p>
            <a:pPr defTabSz="1218619">
              <a:lnSpc>
                <a:spcPct val="90000"/>
              </a:lnSpc>
            </a:pPr>
            <a:r>
              <a:rPr lang="en-US" sz="1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High</a:t>
            </a:r>
          </a:p>
          <a:p>
            <a:pPr defTabSz="1218619">
              <a:lnSpc>
                <a:spcPct val="90000"/>
              </a:lnSpc>
            </a:pPr>
            <a:r>
              <a:rPr lang="en-US" sz="1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Availability </a:t>
            </a:r>
          </a:p>
        </p:txBody>
      </p:sp>
      <p:sp>
        <p:nvSpPr>
          <p:cNvPr id="272" name="Rectangle 271"/>
          <p:cNvSpPr/>
          <p:nvPr/>
        </p:nvSpPr>
        <p:spPr>
          <a:xfrm>
            <a:off x="3488655" y="4914292"/>
            <a:ext cx="978892" cy="397006"/>
          </a:xfrm>
          <a:prstGeom prst="rect">
            <a:avLst/>
          </a:prstGeom>
        </p:spPr>
        <p:txBody>
          <a:bodyPr wrap="square" lIns="91413" tIns="45707" rIns="91413" bIns="45707">
            <a:spAutoFit/>
          </a:bodyPr>
          <a:lstStyle/>
          <a:p>
            <a:pPr defTabSz="1218619">
              <a:lnSpc>
                <a:spcPct val="90000"/>
              </a:lnSpc>
            </a:pPr>
            <a:r>
              <a:rPr lang="en-US" sz="1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Extended</a:t>
            </a:r>
          </a:p>
          <a:p>
            <a:pPr defTabSz="1218619">
              <a:lnSpc>
                <a:spcPct val="90000"/>
              </a:lnSpc>
            </a:pPr>
            <a:r>
              <a:rPr lang="en-US" sz="1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Enterprise</a:t>
            </a:r>
          </a:p>
        </p:txBody>
      </p:sp>
      <p:sp>
        <p:nvSpPr>
          <p:cNvPr id="273" name="Rectangle 272"/>
          <p:cNvSpPr/>
          <p:nvPr/>
        </p:nvSpPr>
        <p:spPr>
          <a:xfrm>
            <a:off x="6795645" y="5062026"/>
            <a:ext cx="2023638" cy="261584"/>
          </a:xfrm>
          <a:prstGeom prst="rect">
            <a:avLst/>
          </a:prstGeom>
        </p:spPr>
        <p:txBody>
          <a:bodyPr wrap="square" lIns="91413" tIns="45707" rIns="91413" bIns="45707">
            <a:spAutoFit/>
          </a:bodyPr>
          <a:lstStyle/>
          <a:p>
            <a:pPr defTabSz="1218619"/>
            <a:r>
              <a:rPr lang="en-US" sz="11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Cloud Bursting  </a:t>
            </a:r>
          </a:p>
        </p:txBody>
      </p:sp>
      <p:sp>
        <p:nvSpPr>
          <p:cNvPr id="274" name="Rectangle 273"/>
          <p:cNvSpPr/>
          <p:nvPr/>
        </p:nvSpPr>
        <p:spPr>
          <a:xfrm>
            <a:off x="6792655" y="5315204"/>
            <a:ext cx="2026630" cy="424705"/>
          </a:xfrm>
          <a:prstGeom prst="rect">
            <a:avLst/>
          </a:prstGeom>
        </p:spPr>
        <p:txBody>
          <a:bodyPr wrap="square" lIns="91413" tIns="45707" rIns="91413" bIns="45707">
            <a:spAutoFit/>
          </a:bodyPr>
          <a:lstStyle/>
          <a:p>
            <a:pPr defTabSz="1218619">
              <a:lnSpc>
                <a:spcPct val="90000"/>
              </a:lnSpc>
            </a:pPr>
            <a:r>
              <a: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Connect new cloud </a:t>
            </a:r>
            <a:r>
              <a:rPr lang="en-US" sz="1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apps to on-premises </a:t>
            </a:r>
            <a:r>
              <a:rPr lang="en-US" sz="1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assets</a:t>
            </a:r>
          </a:p>
        </p:txBody>
      </p:sp>
      <p:sp>
        <p:nvSpPr>
          <p:cNvPr id="280" name="Freeform 207"/>
          <p:cNvSpPr>
            <a:spLocks noEditPoints="1"/>
          </p:cNvSpPr>
          <p:nvPr/>
        </p:nvSpPr>
        <p:spPr bwMode="black">
          <a:xfrm>
            <a:off x="1970326" y="1941120"/>
            <a:ext cx="713007" cy="556772"/>
          </a:xfrm>
          <a:custGeom>
            <a:avLst/>
            <a:gdLst>
              <a:gd name="T0" fmla="*/ 1583 w 1601"/>
              <a:gd name="T1" fmla="*/ 409 h 1191"/>
              <a:gd name="T2" fmla="*/ 891 w 1601"/>
              <a:gd name="T3" fmla="*/ 6 h 1191"/>
              <a:gd name="T4" fmla="*/ 841 w 1601"/>
              <a:gd name="T5" fmla="*/ 6 h 1191"/>
              <a:gd name="T6" fmla="*/ 861 w 1601"/>
              <a:gd name="T7" fmla="*/ 834 h 1191"/>
              <a:gd name="T8" fmla="*/ 596 w 1601"/>
              <a:gd name="T9" fmla="*/ 987 h 1191"/>
              <a:gd name="T10" fmla="*/ 148 w 1601"/>
              <a:gd name="T11" fmla="*/ 797 h 1191"/>
              <a:gd name="T12" fmla="*/ 200 w 1601"/>
              <a:gd name="T13" fmla="*/ 762 h 1191"/>
              <a:gd name="T14" fmla="*/ 886 w 1601"/>
              <a:gd name="T15" fmla="*/ 1163 h 1191"/>
              <a:gd name="T16" fmla="*/ 853 w 1601"/>
              <a:gd name="T17" fmla="*/ 1191 h 1191"/>
              <a:gd name="T18" fmla="*/ 677 w 1601"/>
              <a:gd name="T19" fmla="*/ 1097 h 1191"/>
              <a:gd name="T20" fmla="*/ 730 w 1601"/>
              <a:gd name="T21" fmla="*/ 1062 h 1191"/>
              <a:gd name="T22" fmla="*/ 831 w 1601"/>
              <a:gd name="T23" fmla="*/ 926 h 1191"/>
              <a:gd name="T24" fmla="*/ 56 w 1601"/>
              <a:gd name="T25" fmla="*/ 679 h 1191"/>
              <a:gd name="T26" fmla="*/ 66 w 1601"/>
              <a:gd name="T27" fmla="*/ 687 h 1191"/>
              <a:gd name="T28" fmla="*/ 27 w 1601"/>
              <a:gd name="T29" fmla="*/ 728 h 1191"/>
              <a:gd name="T30" fmla="*/ 0 w 1601"/>
              <a:gd name="T31" fmla="*/ 691 h 1191"/>
              <a:gd name="T32" fmla="*/ 17 w 1601"/>
              <a:gd name="T33" fmla="*/ 416 h 1191"/>
              <a:gd name="T34" fmla="*/ 96 w 1601"/>
              <a:gd name="T35" fmla="*/ 442 h 1191"/>
              <a:gd name="T36" fmla="*/ 877 w 1601"/>
              <a:gd name="T37" fmla="*/ 881 h 1191"/>
              <a:gd name="T38" fmla="*/ 1600 w 1601"/>
              <a:gd name="T39" fmla="*/ 438 h 1191"/>
              <a:gd name="T40" fmla="*/ 1601 w 1601"/>
              <a:gd name="T41" fmla="*/ 669 h 1191"/>
              <a:gd name="T42" fmla="*/ 919 w 1601"/>
              <a:gd name="T43" fmla="*/ 1087 h 1191"/>
              <a:gd name="T44" fmla="*/ 894 w 1601"/>
              <a:gd name="T45" fmla="*/ 853 h 1191"/>
              <a:gd name="T46" fmla="*/ 525 w 1601"/>
              <a:gd name="T47" fmla="*/ 886 h 1191"/>
              <a:gd name="T48" fmla="*/ 316 w 1601"/>
              <a:gd name="T49" fmla="*/ 770 h 1191"/>
              <a:gd name="T50" fmla="*/ 300 w 1601"/>
              <a:gd name="T51" fmla="*/ 721 h 1191"/>
              <a:gd name="T52" fmla="*/ 523 w 1601"/>
              <a:gd name="T53" fmla="*/ 822 h 1191"/>
              <a:gd name="T54" fmla="*/ 539 w 1601"/>
              <a:gd name="T55" fmla="*/ 870 h 1191"/>
              <a:gd name="T56" fmla="*/ 712 w 1601"/>
              <a:gd name="T57" fmla="*/ 1033 h 1191"/>
              <a:gd name="T58" fmla="*/ 648 w 1601"/>
              <a:gd name="T59" fmla="*/ 1091 h 1191"/>
              <a:gd name="T60" fmla="*/ 617 w 1601"/>
              <a:gd name="T61" fmla="*/ 1070 h 1191"/>
              <a:gd name="T62" fmla="*/ 625 w 1601"/>
              <a:gd name="T63" fmla="*/ 914 h 1191"/>
              <a:gd name="T64" fmla="*/ 712 w 1601"/>
              <a:gd name="T65" fmla="*/ 885 h 1191"/>
              <a:gd name="T66" fmla="*/ 708 w 1601"/>
              <a:gd name="T67" fmla="*/ 909 h 1191"/>
              <a:gd name="T68" fmla="*/ 659 w 1601"/>
              <a:gd name="T69" fmla="*/ 1044 h 1191"/>
              <a:gd name="T70" fmla="*/ 712 w 1601"/>
              <a:gd name="T71" fmla="*/ 1033 h 1191"/>
              <a:gd name="T72" fmla="*/ 177 w 1601"/>
              <a:gd name="T73" fmla="*/ 756 h 1191"/>
              <a:gd name="T74" fmla="*/ 92 w 1601"/>
              <a:gd name="T75" fmla="*/ 786 h 1191"/>
              <a:gd name="T76" fmla="*/ 86 w 1601"/>
              <a:gd name="T77" fmla="*/ 632 h 1191"/>
              <a:gd name="T78" fmla="*/ 154 w 1601"/>
              <a:gd name="T79" fmla="*/ 580 h 1191"/>
              <a:gd name="T80" fmla="*/ 181 w 1601"/>
              <a:gd name="T81" fmla="*/ 585 h 1191"/>
              <a:gd name="T82" fmla="*/ 129 w 1601"/>
              <a:gd name="T83" fmla="*/ 637 h 1191"/>
              <a:gd name="T84" fmla="*/ 154 w 1601"/>
              <a:gd name="T85" fmla="*/ 729 h 1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01" h="1191">
                <a:moveTo>
                  <a:pt x="861" y="834"/>
                </a:moveTo>
                <a:cubicBezTo>
                  <a:pt x="1583" y="409"/>
                  <a:pt x="1583" y="409"/>
                  <a:pt x="1583" y="409"/>
                </a:cubicBezTo>
                <a:cubicBezTo>
                  <a:pt x="1581" y="407"/>
                  <a:pt x="1579" y="406"/>
                  <a:pt x="1576" y="404"/>
                </a:cubicBezTo>
                <a:cubicBezTo>
                  <a:pt x="891" y="6"/>
                  <a:pt x="891" y="6"/>
                  <a:pt x="891" y="6"/>
                </a:cubicBezTo>
                <a:cubicBezTo>
                  <a:pt x="884" y="2"/>
                  <a:pt x="875" y="0"/>
                  <a:pt x="866" y="0"/>
                </a:cubicBezTo>
                <a:cubicBezTo>
                  <a:pt x="857" y="0"/>
                  <a:pt x="848" y="2"/>
                  <a:pt x="841" y="6"/>
                </a:cubicBezTo>
                <a:cubicBezTo>
                  <a:pt x="130" y="422"/>
                  <a:pt x="130" y="422"/>
                  <a:pt x="130" y="422"/>
                </a:cubicBezTo>
                <a:lnTo>
                  <a:pt x="861" y="834"/>
                </a:lnTo>
                <a:close/>
                <a:moveTo>
                  <a:pt x="200" y="762"/>
                </a:moveTo>
                <a:cubicBezTo>
                  <a:pt x="596" y="987"/>
                  <a:pt x="596" y="987"/>
                  <a:pt x="596" y="987"/>
                </a:cubicBezTo>
                <a:cubicBezTo>
                  <a:pt x="596" y="1051"/>
                  <a:pt x="596" y="1051"/>
                  <a:pt x="596" y="1051"/>
                </a:cubicBezTo>
                <a:cubicBezTo>
                  <a:pt x="148" y="797"/>
                  <a:pt x="148" y="797"/>
                  <a:pt x="148" y="797"/>
                </a:cubicBezTo>
                <a:cubicBezTo>
                  <a:pt x="188" y="773"/>
                  <a:pt x="188" y="773"/>
                  <a:pt x="188" y="773"/>
                </a:cubicBezTo>
                <a:cubicBezTo>
                  <a:pt x="192" y="771"/>
                  <a:pt x="197" y="767"/>
                  <a:pt x="200" y="762"/>
                </a:cubicBezTo>
                <a:close/>
                <a:moveTo>
                  <a:pt x="886" y="897"/>
                </a:moveTo>
                <a:cubicBezTo>
                  <a:pt x="886" y="1163"/>
                  <a:pt x="886" y="1163"/>
                  <a:pt x="886" y="1163"/>
                </a:cubicBezTo>
                <a:cubicBezTo>
                  <a:pt x="884" y="1173"/>
                  <a:pt x="878" y="1182"/>
                  <a:pt x="870" y="1187"/>
                </a:cubicBezTo>
                <a:cubicBezTo>
                  <a:pt x="865" y="1190"/>
                  <a:pt x="859" y="1191"/>
                  <a:pt x="853" y="1191"/>
                </a:cubicBezTo>
                <a:cubicBezTo>
                  <a:pt x="847" y="1191"/>
                  <a:pt x="840" y="1190"/>
                  <a:pt x="834" y="1186"/>
                </a:cubicBezTo>
                <a:cubicBezTo>
                  <a:pt x="677" y="1097"/>
                  <a:pt x="677" y="1097"/>
                  <a:pt x="677" y="1097"/>
                </a:cubicBezTo>
                <a:cubicBezTo>
                  <a:pt x="718" y="1073"/>
                  <a:pt x="718" y="1073"/>
                  <a:pt x="718" y="1073"/>
                </a:cubicBezTo>
                <a:cubicBezTo>
                  <a:pt x="723" y="1071"/>
                  <a:pt x="727" y="1067"/>
                  <a:pt x="730" y="1062"/>
                </a:cubicBezTo>
                <a:cubicBezTo>
                  <a:pt x="831" y="1120"/>
                  <a:pt x="831" y="1120"/>
                  <a:pt x="831" y="1120"/>
                </a:cubicBezTo>
                <a:cubicBezTo>
                  <a:pt x="831" y="926"/>
                  <a:pt x="831" y="926"/>
                  <a:pt x="831" y="926"/>
                </a:cubicBezTo>
                <a:cubicBezTo>
                  <a:pt x="56" y="483"/>
                  <a:pt x="56" y="483"/>
                  <a:pt x="56" y="483"/>
                </a:cubicBezTo>
                <a:cubicBezTo>
                  <a:pt x="56" y="679"/>
                  <a:pt x="56" y="679"/>
                  <a:pt x="56" y="679"/>
                </a:cubicBezTo>
                <a:cubicBezTo>
                  <a:pt x="57" y="681"/>
                  <a:pt x="57" y="681"/>
                  <a:pt x="57" y="681"/>
                </a:cubicBezTo>
                <a:cubicBezTo>
                  <a:pt x="66" y="687"/>
                  <a:pt x="66" y="687"/>
                  <a:pt x="66" y="687"/>
                </a:cubicBezTo>
                <a:cubicBezTo>
                  <a:pt x="66" y="750"/>
                  <a:pt x="66" y="750"/>
                  <a:pt x="66" y="750"/>
                </a:cubicBezTo>
                <a:cubicBezTo>
                  <a:pt x="27" y="728"/>
                  <a:pt x="27" y="728"/>
                  <a:pt x="27" y="728"/>
                </a:cubicBezTo>
                <a:cubicBezTo>
                  <a:pt x="4" y="710"/>
                  <a:pt x="4" y="710"/>
                  <a:pt x="4" y="710"/>
                </a:cubicBezTo>
                <a:cubicBezTo>
                  <a:pt x="0" y="691"/>
                  <a:pt x="0" y="691"/>
                  <a:pt x="0" y="691"/>
                </a:cubicBezTo>
                <a:cubicBezTo>
                  <a:pt x="0" y="448"/>
                  <a:pt x="0" y="448"/>
                  <a:pt x="0" y="448"/>
                </a:cubicBezTo>
                <a:cubicBezTo>
                  <a:pt x="0" y="434"/>
                  <a:pt x="6" y="423"/>
                  <a:pt x="17" y="416"/>
                </a:cubicBezTo>
                <a:cubicBezTo>
                  <a:pt x="28" y="410"/>
                  <a:pt x="41" y="410"/>
                  <a:pt x="53" y="417"/>
                </a:cubicBezTo>
                <a:cubicBezTo>
                  <a:pt x="96" y="442"/>
                  <a:pt x="96" y="442"/>
                  <a:pt x="96" y="442"/>
                </a:cubicBezTo>
                <a:cubicBezTo>
                  <a:pt x="97" y="441"/>
                  <a:pt x="97" y="441"/>
                  <a:pt x="97" y="441"/>
                </a:cubicBezTo>
                <a:cubicBezTo>
                  <a:pt x="877" y="881"/>
                  <a:pt x="877" y="881"/>
                  <a:pt x="877" y="881"/>
                </a:cubicBezTo>
                <a:cubicBezTo>
                  <a:pt x="881" y="883"/>
                  <a:pt x="886" y="892"/>
                  <a:pt x="886" y="897"/>
                </a:cubicBezTo>
                <a:close/>
                <a:moveTo>
                  <a:pt x="1600" y="438"/>
                </a:moveTo>
                <a:cubicBezTo>
                  <a:pt x="1601" y="441"/>
                  <a:pt x="1601" y="444"/>
                  <a:pt x="1601" y="448"/>
                </a:cubicBezTo>
                <a:cubicBezTo>
                  <a:pt x="1601" y="669"/>
                  <a:pt x="1601" y="669"/>
                  <a:pt x="1601" y="669"/>
                </a:cubicBezTo>
                <a:cubicBezTo>
                  <a:pt x="1601" y="686"/>
                  <a:pt x="1591" y="704"/>
                  <a:pt x="1576" y="712"/>
                </a:cubicBezTo>
                <a:cubicBezTo>
                  <a:pt x="919" y="1087"/>
                  <a:pt x="919" y="1087"/>
                  <a:pt x="919" y="1087"/>
                </a:cubicBezTo>
                <a:cubicBezTo>
                  <a:pt x="919" y="897"/>
                  <a:pt x="919" y="897"/>
                  <a:pt x="919" y="897"/>
                </a:cubicBezTo>
                <a:cubicBezTo>
                  <a:pt x="919" y="880"/>
                  <a:pt x="909" y="862"/>
                  <a:pt x="894" y="853"/>
                </a:cubicBezTo>
                <a:lnTo>
                  <a:pt x="1600" y="438"/>
                </a:lnTo>
                <a:close/>
                <a:moveTo>
                  <a:pt x="525" y="886"/>
                </a:moveTo>
                <a:cubicBezTo>
                  <a:pt x="522" y="886"/>
                  <a:pt x="519" y="885"/>
                  <a:pt x="516" y="884"/>
                </a:cubicBezTo>
                <a:cubicBezTo>
                  <a:pt x="316" y="770"/>
                  <a:pt x="316" y="770"/>
                  <a:pt x="316" y="770"/>
                </a:cubicBezTo>
                <a:cubicBezTo>
                  <a:pt x="307" y="765"/>
                  <a:pt x="300" y="753"/>
                  <a:pt x="300" y="742"/>
                </a:cubicBezTo>
                <a:cubicBezTo>
                  <a:pt x="300" y="721"/>
                  <a:pt x="300" y="721"/>
                  <a:pt x="300" y="721"/>
                </a:cubicBezTo>
                <a:cubicBezTo>
                  <a:pt x="300" y="708"/>
                  <a:pt x="311" y="701"/>
                  <a:pt x="323" y="708"/>
                </a:cubicBezTo>
                <a:cubicBezTo>
                  <a:pt x="523" y="822"/>
                  <a:pt x="523" y="822"/>
                  <a:pt x="523" y="822"/>
                </a:cubicBezTo>
                <a:cubicBezTo>
                  <a:pt x="532" y="827"/>
                  <a:pt x="539" y="839"/>
                  <a:pt x="539" y="849"/>
                </a:cubicBezTo>
                <a:cubicBezTo>
                  <a:pt x="539" y="870"/>
                  <a:pt x="539" y="870"/>
                  <a:pt x="539" y="870"/>
                </a:cubicBezTo>
                <a:cubicBezTo>
                  <a:pt x="539" y="880"/>
                  <a:pt x="533" y="886"/>
                  <a:pt x="525" y="886"/>
                </a:cubicBezTo>
                <a:close/>
                <a:moveTo>
                  <a:pt x="712" y="1033"/>
                </a:moveTo>
                <a:cubicBezTo>
                  <a:pt x="718" y="1040"/>
                  <a:pt x="716" y="1051"/>
                  <a:pt x="708" y="1056"/>
                </a:cubicBezTo>
                <a:cubicBezTo>
                  <a:pt x="648" y="1091"/>
                  <a:pt x="648" y="1091"/>
                  <a:pt x="648" y="1091"/>
                </a:cubicBezTo>
                <a:cubicBezTo>
                  <a:pt x="640" y="1096"/>
                  <a:pt x="626" y="1090"/>
                  <a:pt x="622" y="1086"/>
                </a:cubicBezTo>
                <a:cubicBezTo>
                  <a:pt x="618" y="1082"/>
                  <a:pt x="617" y="1070"/>
                  <a:pt x="617" y="1070"/>
                </a:cubicBezTo>
                <a:cubicBezTo>
                  <a:pt x="617" y="932"/>
                  <a:pt x="617" y="932"/>
                  <a:pt x="617" y="932"/>
                </a:cubicBezTo>
                <a:cubicBezTo>
                  <a:pt x="617" y="932"/>
                  <a:pt x="618" y="918"/>
                  <a:pt x="625" y="914"/>
                </a:cubicBezTo>
                <a:cubicBezTo>
                  <a:pt x="684" y="880"/>
                  <a:pt x="684" y="880"/>
                  <a:pt x="684" y="880"/>
                </a:cubicBezTo>
                <a:cubicBezTo>
                  <a:pt x="693" y="875"/>
                  <a:pt x="706" y="878"/>
                  <a:pt x="712" y="885"/>
                </a:cubicBezTo>
                <a:cubicBezTo>
                  <a:pt x="712" y="885"/>
                  <a:pt x="712" y="885"/>
                  <a:pt x="712" y="885"/>
                </a:cubicBezTo>
                <a:cubicBezTo>
                  <a:pt x="717" y="893"/>
                  <a:pt x="716" y="904"/>
                  <a:pt x="708" y="909"/>
                </a:cubicBezTo>
                <a:cubicBezTo>
                  <a:pt x="659" y="937"/>
                  <a:pt x="659" y="937"/>
                  <a:pt x="659" y="937"/>
                </a:cubicBezTo>
                <a:cubicBezTo>
                  <a:pt x="659" y="1044"/>
                  <a:pt x="659" y="1044"/>
                  <a:pt x="659" y="1044"/>
                </a:cubicBezTo>
                <a:cubicBezTo>
                  <a:pt x="684" y="1029"/>
                  <a:pt x="684" y="1029"/>
                  <a:pt x="684" y="1029"/>
                </a:cubicBezTo>
                <a:cubicBezTo>
                  <a:pt x="693" y="1024"/>
                  <a:pt x="706" y="1025"/>
                  <a:pt x="712" y="1033"/>
                </a:cubicBezTo>
                <a:close/>
                <a:moveTo>
                  <a:pt x="182" y="733"/>
                </a:moveTo>
                <a:cubicBezTo>
                  <a:pt x="188" y="740"/>
                  <a:pt x="186" y="751"/>
                  <a:pt x="177" y="756"/>
                </a:cubicBezTo>
                <a:cubicBezTo>
                  <a:pt x="118" y="791"/>
                  <a:pt x="118" y="791"/>
                  <a:pt x="118" y="791"/>
                </a:cubicBezTo>
                <a:cubicBezTo>
                  <a:pt x="109" y="796"/>
                  <a:pt x="96" y="790"/>
                  <a:pt x="92" y="786"/>
                </a:cubicBezTo>
                <a:cubicBezTo>
                  <a:pt x="88" y="782"/>
                  <a:pt x="86" y="770"/>
                  <a:pt x="86" y="770"/>
                </a:cubicBezTo>
                <a:cubicBezTo>
                  <a:pt x="86" y="632"/>
                  <a:pt x="86" y="632"/>
                  <a:pt x="86" y="632"/>
                </a:cubicBezTo>
                <a:cubicBezTo>
                  <a:pt x="86" y="632"/>
                  <a:pt x="88" y="618"/>
                  <a:pt x="95" y="614"/>
                </a:cubicBezTo>
                <a:cubicBezTo>
                  <a:pt x="154" y="580"/>
                  <a:pt x="154" y="580"/>
                  <a:pt x="154" y="580"/>
                </a:cubicBezTo>
                <a:cubicBezTo>
                  <a:pt x="163" y="575"/>
                  <a:pt x="176" y="578"/>
                  <a:pt x="181" y="585"/>
                </a:cubicBezTo>
                <a:cubicBezTo>
                  <a:pt x="181" y="585"/>
                  <a:pt x="181" y="585"/>
                  <a:pt x="181" y="585"/>
                </a:cubicBezTo>
                <a:cubicBezTo>
                  <a:pt x="187" y="593"/>
                  <a:pt x="186" y="604"/>
                  <a:pt x="177" y="609"/>
                </a:cubicBezTo>
                <a:cubicBezTo>
                  <a:pt x="129" y="637"/>
                  <a:pt x="129" y="637"/>
                  <a:pt x="129" y="637"/>
                </a:cubicBezTo>
                <a:cubicBezTo>
                  <a:pt x="129" y="744"/>
                  <a:pt x="129" y="744"/>
                  <a:pt x="129" y="744"/>
                </a:cubicBezTo>
                <a:cubicBezTo>
                  <a:pt x="154" y="729"/>
                  <a:pt x="154" y="729"/>
                  <a:pt x="154" y="729"/>
                </a:cubicBezTo>
                <a:cubicBezTo>
                  <a:pt x="163" y="724"/>
                  <a:pt x="176" y="725"/>
                  <a:pt x="182" y="733"/>
                </a:cubicBezTo>
                <a:close/>
              </a:path>
            </a:pathLst>
          </a:custGeom>
          <a:solidFill>
            <a:srgbClr val="FFFFFF"/>
          </a:solidFill>
          <a:ln w="9525">
            <a:solidFill>
              <a:schemeClr val="accent1"/>
            </a:solidFill>
            <a:prstDash val="sysDash"/>
            <a:round/>
            <a:headEnd/>
            <a:tailEnd/>
          </a:ln>
          <a:extLst/>
        </p:spPr>
        <p:txBody>
          <a:bodyPr vert="horz" wrap="square" lIns="76170" tIns="38084" rIns="76170" bIns="38084" numCol="1" anchor="t" anchorCtr="0" compatLnSpc="1">
            <a:prstTxWarp prst="textNoShape">
              <a:avLst/>
            </a:prstTxWarp>
          </a:bodyPr>
          <a:lstStyle/>
          <a:p>
            <a:pPr defTabSz="913591"/>
            <a:endParaRPr 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81" name="Freeform 7"/>
          <p:cNvSpPr>
            <a:spLocks/>
          </p:cNvSpPr>
          <p:nvPr/>
        </p:nvSpPr>
        <p:spPr bwMode="auto">
          <a:xfrm>
            <a:off x="5968680" y="1915122"/>
            <a:ext cx="504439" cy="346046"/>
          </a:xfrm>
          <a:custGeom>
            <a:avLst/>
            <a:gdLst>
              <a:gd name="T0" fmla="*/ 157 w 214"/>
              <a:gd name="T1" fmla="*/ 0 h 114"/>
              <a:gd name="T2" fmla="*/ 107 w 214"/>
              <a:gd name="T3" fmla="*/ 29 h 114"/>
              <a:gd name="T4" fmla="*/ 86 w 214"/>
              <a:gd name="T5" fmla="*/ 23 h 114"/>
              <a:gd name="T6" fmla="*/ 46 w 214"/>
              <a:gd name="T7" fmla="*/ 48 h 114"/>
              <a:gd name="T8" fmla="*/ 34 w 214"/>
              <a:gd name="T9" fmla="*/ 45 h 114"/>
              <a:gd name="T10" fmla="*/ 0 w 214"/>
              <a:gd name="T11" fmla="*/ 80 h 114"/>
              <a:gd name="T12" fmla="*/ 34 w 214"/>
              <a:gd name="T13" fmla="*/ 114 h 114"/>
              <a:gd name="T14" fmla="*/ 86 w 214"/>
              <a:gd name="T15" fmla="*/ 114 h 114"/>
              <a:gd name="T16" fmla="*/ 157 w 214"/>
              <a:gd name="T17" fmla="*/ 114 h 114"/>
              <a:gd name="T18" fmla="*/ 214 w 214"/>
              <a:gd name="T19" fmla="*/ 57 h 114"/>
              <a:gd name="T20" fmla="*/ 157 w 214"/>
              <a:gd name="T21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4" h="114">
                <a:moveTo>
                  <a:pt x="157" y="0"/>
                </a:moveTo>
                <a:cubicBezTo>
                  <a:pt x="136" y="0"/>
                  <a:pt x="117" y="11"/>
                  <a:pt x="107" y="29"/>
                </a:cubicBezTo>
                <a:cubicBezTo>
                  <a:pt x="101" y="25"/>
                  <a:pt x="94" y="23"/>
                  <a:pt x="86" y="23"/>
                </a:cubicBezTo>
                <a:cubicBezTo>
                  <a:pt x="69" y="23"/>
                  <a:pt x="54" y="33"/>
                  <a:pt x="46" y="48"/>
                </a:cubicBezTo>
                <a:cubicBezTo>
                  <a:pt x="42" y="46"/>
                  <a:pt x="38" y="45"/>
                  <a:pt x="34" y="45"/>
                </a:cubicBezTo>
                <a:cubicBezTo>
                  <a:pt x="15" y="45"/>
                  <a:pt x="0" y="61"/>
                  <a:pt x="0" y="80"/>
                </a:cubicBezTo>
                <a:cubicBezTo>
                  <a:pt x="0" y="99"/>
                  <a:pt x="15" y="114"/>
                  <a:pt x="34" y="114"/>
                </a:cubicBezTo>
                <a:cubicBezTo>
                  <a:pt x="86" y="114"/>
                  <a:pt x="86" y="114"/>
                  <a:pt x="86" y="114"/>
                </a:cubicBezTo>
                <a:cubicBezTo>
                  <a:pt x="157" y="114"/>
                  <a:pt x="157" y="114"/>
                  <a:pt x="157" y="114"/>
                </a:cubicBezTo>
                <a:cubicBezTo>
                  <a:pt x="189" y="114"/>
                  <a:pt x="214" y="89"/>
                  <a:pt x="214" y="57"/>
                </a:cubicBezTo>
                <a:cubicBezTo>
                  <a:pt x="214" y="25"/>
                  <a:pt x="189" y="0"/>
                  <a:pt x="157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76170" tIns="38084" rIns="76170" bIns="38084" numCol="1" anchor="t" anchorCtr="0" compatLnSpc="1">
            <a:prstTxWarp prst="textNoShape">
              <a:avLst/>
            </a:prstTxWarp>
          </a:bodyPr>
          <a:lstStyle/>
          <a:p>
            <a:pPr defTabSz="913591"/>
            <a:endParaRPr lang="en-US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82" name="Freeform 6"/>
          <p:cNvSpPr>
            <a:spLocks/>
          </p:cNvSpPr>
          <p:nvPr/>
        </p:nvSpPr>
        <p:spPr bwMode="auto">
          <a:xfrm>
            <a:off x="6166072" y="1741043"/>
            <a:ext cx="431728" cy="373100"/>
          </a:xfrm>
          <a:custGeom>
            <a:avLst/>
            <a:gdLst>
              <a:gd name="T0" fmla="*/ 138 w 189"/>
              <a:gd name="T1" fmla="*/ 0 h 101"/>
              <a:gd name="T2" fmla="*/ 94 w 189"/>
              <a:gd name="T3" fmla="*/ 26 h 101"/>
              <a:gd name="T4" fmla="*/ 75 w 189"/>
              <a:gd name="T5" fmla="*/ 21 h 101"/>
              <a:gd name="T6" fmla="*/ 40 w 189"/>
              <a:gd name="T7" fmla="*/ 42 h 101"/>
              <a:gd name="T8" fmla="*/ 29 w 189"/>
              <a:gd name="T9" fmla="*/ 40 h 101"/>
              <a:gd name="T10" fmla="*/ 0 w 189"/>
              <a:gd name="T11" fmla="*/ 64 h 101"/>
              <a:gd name="T12" fmla="*/ 11 w 189"/>
              <a:gd name="T13" fmla="*/ 62 h 101"/>
              <a:gd name="T14" fmla="*/ 30 w 189"/>
              <a:gd name="T15" fmla="*/ 66 h 101"/>
              <a:gd name="T16" fmla="*/ 82 w 189"/>
              <a:gd name="T17" fmla="*/ 39 h 101"/>
              <a:gd name="T18" fmla="*/ 145 w 189"/>
              <a:gd name="T19" fmla="*/ 101 h 101"/>
              <a:gd name="T20" fmla="*/ 189 w 189"/>
              <a:gd name="T21" fmla="*/ 51 h 101"/>
              <a:gd name="T22" fmla="*/ 138 w 189"/>
              <a:gd name="T23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9" h="101">
                <a:moveTo>
                  <a:pt x="138" y="0"/>
                </a:moveTo>
                <a:cubicBezTo>
                  <a:pt x="119" y="0"/>
                  <a:pt x="103" y="10"/>
                  <a:pt x="94" y="26"/>
                </a:cubicBezTo>
                <a:cubicBezTo>
                  <a:pt x="89" y="23"/>
                  <a:pt x="82" y="21"/>
                  <a:pt x="75" y="21"/>
                </a:cubicBezTo>
                <a:cubicBezTo>
                  <a:pt x="60" y="21"/>
                  <a:pt x="46" y="30"/>
                  <a:pt x="40" y="42"/>
                </a:cubicBezTo>
                <a:cubicBezTo>
                  <a:pt x="36" y="41"/>
                  <a:pt x="33" y="40"/>
                  <a:pt x="29" y="40"/>
                </a:cubicBezTo>
                <a:cubicBezTo>
                  <a:pt x="15" y="40"/>
                  <a:pt x="3" y="50"/>
                  <a:pt x="0" y="64"/>
                </a:cubicBezTo>
                <a:cubicBezTo>
                  <a:pt x="3" y="63"/>
                  <a:pt x="7" y="62"/>
                  <a:pt x="11" y="62"/>
                </a:cubicBezTo>
                <a:cubicBezTo>
                  <a:pt x="17" y="62"/>
                  <a:pt x="24" y="64"/>
                  <a:pt x="30" y="66"/>
                </a:cubicBezTo>
                <a:cubicBezTo>
                  <a:pt x="42" y="49"/>
                  <a:pt x="61" y="39"/>
                  <a:pt x="82" y="39"/>
                </a:cubicBezTo>
                <a:cubicBezTo>
                  <a:pt x="117" y="39"/>
                  <a:pt x="145" y="67"/>
                  <a:pt x="145" y="101"/>
                </a:cubicBezTo>
                <a:cubicBezTo>
                  <a:pt x="170" y="98"/>
                  <a:pt x="189" y="77"/>
                  <a:pt x="189" y="51"/>
                </a:cubicBezTo>
                <a:cubicBezTo>
                  <a:pt x="189" y="22"/>
                  <a:pt x="167" y="0"/>
                  <a:pt x="138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76170" tIns="38084" rIns="76170" bIns="38084" numCol="1" anchor="t" anchorCtr="0" compatLnSpc="1">
            <a:prstTxWarp prst="textNoShape">
              <a:avLst/>
            </a:prstTxWarp>
          </a:bodyPr>
          <a:lstStyle/>
          <a:p>
            <a:pPr defTabSz="913591"/>
            <a:endParaRPr lang="en-US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2" name="Title 1"/>
          <p:cNvSpPr>
            <a:spLocks noGrp="1"/>
          </p:cNvSpPr>
          <p:nvPr>
            <p:ph type="title"/>
          </p:nvPr>
        </p:nvSpPr>
        <p:spPr>
          <a:xfrm>
            <a:off x="-31243" y="-4756"/>
            <a:ext cx="9324528" cy="1260000"/>
          </a:xfrm>
        </p:spPr>
        <p:txBody>
          <a:bodyPr>
            <a:noAutofit/>
          </a:bodyPr>
          <a:lstStyle/>
          <a:p>
            <a:pPr marL="0"/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Key Scenarios – VMs and Cloud Services </a:t>
            </a:r>
            <a:endParaRPr lang="en-US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46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0" grpId="0" animBg="1"/>
      <p:bldP spid="271" grpId="0"/>
      <p:bldP spid="272" grpId="0"/>
      <p:bldP spid="273" grpId="0"/>
      <p:bldP spid="274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82600" y="1852062"/>
            <a:ext cx="2413000" cy="967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150000"/>
              </a:lnSpc>
              <a:spcAft>
                <a:spcPts val="1200"/>
              </a:spcAft>
              <a:buClr>
                <a:srgbClr val="16A5D9"/>
              </a:buClr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Segoe UI"/>
              </a:rPr>
              <a:t>Start with free shared instanc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87476"/>
          </a:xfrm>
        </p:spPr>
        <p:txBody>
          <a:bodyPr>
            <a:normAutofit/>
          </a:bodyPr>
          <a:lstStyle/>
          <a:p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+mj-cs"/>
              </a:rPr>
              <a:t>Scalability</a:t>
            </a:r>
            <a:endParaRPr lang="en-US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55" y="1504800"/>
            <a:ext cx="6621067" cy="4516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2834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55" y="1504800"/>
            <a:ext cx="6621067" cy="4372472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19200"/>
          </a:xfrm>
        </p:spPr>
        <p:txBody>
          <a:bodyPr>
            <a:normAutofit/>
          </a:bodyPr>
          <a:lstStyle/>
          <a:p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+mj-cs"/>
              </a:rPr>
              <a:t>Scalability - Out</a:t>
            </a:r>
            <a:endParaRPr lang="en-US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2600" y="1852062"/>
            <a:ext cx="2413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150000"/>
              </a:lnSpc>
              <a:spcAft>
                <a:spcPts val="1200"/>
              </a:spcAft>
              <a:buClr>
                <a:srgbClr val="16A5D9"/>
              </a:buClr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Segoe UI"/>
              </a:rPr>
              <a:t>Start with free shared instance, Scale Out as traffic grows</a:t>
            </a:r>
          </a:p>
        </p:txBody>
      </p:sp>
    </p:spTree>
    <p:extLst>
      <p:ext uri="{BB962C8B-B14F-4D97-AF65-F5344CB8AC3E}">
        <p14:creationId xmlns:p14="http://schemas.microsoft.com/office/powerpoint/2010/main" val="2898243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55" y="1504800"/>
            <a:ext cx="6621067" cy="4228456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19200"/>
          </a:xfrm>
        </p:spPr>
        <p:txBody>
          <a:bodyPr>
            <a:normAutofit/>
          </a:bodyPr>
          <a:lstStyle/>
          <a:p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+mj-cs"/>
              </a:rPr>
              <a:t>Scalability – Switch Up</a:t>
            </a:r>
            <a:endParaRPr lang="en-US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2600" y="1852062"/>
            <a:ext cx="2413000" cy="28146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  <a:buClr>
                <a:srgbClr val="16A5D9"/>
              </a:buClr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Segoe UI"/>
              </a:rPr>
              <a:t>Start with free shared instance, Scale Out as traffic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Segoe UI"/>
              </a:rPr>
              <a:t>grows, Scale Up to reserved instance when required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1276100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55" y="1504800"/>
            <a:ext cx="6621067" cy="4239097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19200"/>
          </a:xfrm>
        </p:spPr>
        <p:txBody>
          <a:bodyPr>
            <a:normAutofit/>
          </a:bodyPr>
          <a:lstStyle/>
          <a:p>
            <a:r>
              <a:rPr lang="en-US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+mj-cs"/>
              </a:rPr>
              <a:t>Scalability – Out again</a:t>
            </a:r>
            <a:endParaRPr lang="en-US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2600" y="1852062"/>
            <a:ext cx="2413000" cy="3891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  <a:buClr>
                <a:srgbClr val="16A5D9"/>
              </a:buClr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Segoe UI"/>
              </a:rPr>
              <a:t>Start with free shared instance, Scale Out as traffic grows, Scale Up to reserved instance when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Segoe UI"/>
              </a:rPr>
              <a:t>required</a:t>
            </a:r>
          </a:p>
          <a:p>
            <a:pPr>
              <a:lnSpc>
                <a:spcPct val="150000"/>
              </a:lnSpc>
              <a:spcAft>
                <a:spcPts val="1200"/>
              </a:spcAft>
              <a:buClr>
                <a:srgbClr val="16A5D9"/>
              </a:buClr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cs typeface="Segoe UI"/>
              </a:rPr>
              <a:t>Scale Out even further!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5377005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666526"/>
          </a:xfrm>
        </p:spPr>
        <p:txBody>
          <a:bodyPr>
            <a:normAutofit/>
          </a:bodyPr>
          <a:lstStyle/>
          <a:p>
            <a:r>
              <a:rPr lang="en-IE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</a:t>
            </a:r>
            <a:r>
              <a:rPr lang="en-IE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vantages of Cloud</a:t>
            </a:r>
            <a:endParaRPr lang="en-IE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Different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C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loud accounts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have identical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environments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There are invariably minor differences between different machines in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on-premises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environments</a:t>
            </a:r>
          </a:p>
          <a:p>
            <a:pPr lvl="1"/>
            <a:endParaRPr lang="en-US" sz="6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448056" lvl="1" indent="-384048">
              <a:buSzPct val="80000"/>
              <a:buFont typeface="Wingdings 2"/>
              <a:buChar char=""/>
            </a:pPr>
            <a:r>
              <a:rPr lang="en-US" sz="3100" dirty="0">
                <a:solidFill>
                  <a:schemeClr val="bg1"/>
                </a:solidFill>
                <a:latin typeface="Calibri" panose="020F0502020204030204" pitchFamily="34" charset="0"/>
              </a:rPr>
              <a:t>Many Cloud platforms support quick roll back of changes in </a:t>
            </a:r>
            <a:r>
              <a:rPr lang="en-US" sz="31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roduction</a:t>
            </a:r>
          </a:p>
          <a:p>
            <a:pPr marL="731520" lvl="2" indent="-384048">
              <a:buSzPct val="80000"/>
              <a:buFont typeface="Wingdings" pitchFamily="2" charset="2"/>
              <a:buChar char="Ø"/>
            </a:pPr>
            <a:r>
              <a:rPr lang="en-US" sz="2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By providing a Swap </a:t>
            </a:r>
            <a:r>
              <a:rPr lang="en-US" sz="2600" dirty="0">
                <a:solidFill>
                  <a:schemeClr val="bg1"/>
                </a:solidFill>
                <a:latin typeface="Calibri" panose="020F0502020204030204" pitchFamily="34" charset="0"/>
              </a:rPr>
              <a:t>operation between two </a:t>
            </a:r>
            <a:r>
              <a:rPr lang="en-US" sz="2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eployments</a:t>
            </a:r>
          </a:p>
          <a:p>
            <a:pPr marL="731520" lvl="2" indent="-384048">
              <a:buSzPct val="80000"/>
              <a:buFont typeface="Wingdings" pitchFamily="2" charset="2"/>
              <a:buChar char="Ø"/>
            </a:pPr>
            <a:endParaRPr lang="en-IE" sz="7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No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risk of development and testing staff accidentally testing on live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data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Access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to the production storage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and databases can be controlled and isolated from the test storage and databases</a:t>
            </a: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4285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666526"/>
          </a:xfrm>
        </p:spPr>
        <p:txBody>
          <a:bodyPr>
            <a:normAutofit/>
          </a:bodyPr>
          <a:lstStyle/>
          <a:p>
            <a:r>
              <a:rPr lang="en-IE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</a:t>
            </a:r>
            <a:r>
              <a:rPr lang="en-IE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nd the Disadvantages…</a:t>
            </a:r>
            <a:endParaRPr lang="en-IE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A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ny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time you do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something,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even if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it is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only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testing,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it costs money</a:t>
            </a:r>
            <a:endParaRPr lang="en-US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Billed for all environments used – Production, Staging and testing</a:t>
            </a:r>
          </a:p>
          <a:p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Connectivity issues can hinder testing and diagnosis</a:t>
            </a:r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5116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666526"/>
          </a:xfrm>
        </p:spPr>
        <p:txBody>
          <a:bodyPr>
            <a:normAutofit/>
          </a:bodyPr>
          <a:lstStyle/>
          <a:p>
            <a:r>
              <a:rPr lang="en-IE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eployment Best Practices</a:t>
            </a:r>
            <a:endParaRPr lang="en-IE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48056" lvl="1" indent="-384048">
              <a:buSzPct val="80000"/>
              <a:buFont typeface="Wingdings 2"/>
              <a:buChar char=""/>
            </a:pPr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U</a:t>
            </a: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e </a:t>
            </a:r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scripts because it means that </a:t>
            </a: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operations </a:t>
            </a:r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can </a:t>
            </a: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be repeated reliably</a:t>
            </a:r>
          </a:p>
          <a:p>
            <a:pPr marL="448056" lvl="1" indent="-384048">
              <a:buSzPct val="80000"/>
              <a:buFont typeface="Wingdings 2"/>
              <a:buChar char=""/>
            </a:pP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Log, so that errors are captured, which may assist in debugging problems</a:t>
            </a:r>
          </a:p>
          <a:p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Automate as much of the process as possible</a:t>
            </a:r>
          </a:p>
          <a:p>
            <a:pPr marL="64008" indent="0">
              <a:buNone/>
            </a:pPr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9260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666526"/>
          </a:xfrm>
        </p:spPr>
        <p:txBody>
          <a:bodyPr>
            <a:normAutofit/>
          </a:bodyPr>
          <a:lstStyle/>
          <a:p>
            <a:r>
              <a:rPr lang="en-IE" sz="4400" spc="-267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Testing</a:t>
            </a:r>
            <a:endParaRPr lang="en-IE" sz="4400" spc="-267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448056" lvl="1" indent="-384048">
              <a:buSzPct val="80000"/>
              <a:buFont typeface="Wingdings 2"/>
              <a:buChar char=""/>
            </a:pP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Test locally first – does not cost</a:t>
            </a:r>
          </a:p>
          <a:p>
            <a:pPr marL="731520" lvl="2" indent="-384048">
              <a:buSzPct val="80000"/>
              <a:buFont typeface="Wingdings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For Windows Azure, most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testing can be performed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on the development machine by using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the Compute Emulator and Storage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Emulator</a:t>
            </a:r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Deploy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an application to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the Cloud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test environment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only when it is running successfully locally and ready for final testing to minimize the charges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Windows Azure charges separately for production and staging, so make sure that staging is deleted when not required</a:t>
            </a:r>
          </a:p>
          <a:p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Be aware of the charging unit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Windows Azure Compute is charged by the hour, so a 10 minute test will cost the same as a 59 minute test</a:t>
            </a:r>
          </a:p>
          <a:p>
            <a:pPr lvl="1"/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Windows Azure SQL Database is charged by the maximum size per day, so a 5 GB test database used for 1 hour will cost more than a 1 GB test database used for 1 day</a:t>
            </a:r>
            <a:endParaRPr lang="en-I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820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7494"/>
            <a:ext cx="9144000" cy="1399032"/>
          </a:xfrm>
        </p:spPr>
        <p:txBody>
          <a:bodyPr>
            <a:normAutofit/>
          </a:bodyPr>
          <a:lstStyle/>
          <a:p>
            <a:r>
              <a:rPr lang="en-IE" sz="4400" dirty="0" smtClean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Quiz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64008" indent="0">
              <a:buNone/>
            </a:pP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Q: Windows Azure Virtual Machines are available out of the box with which of the following operating systems:</a:t>
            </a:r>
          </a:p>
          <a:p>
            <a:pPr marL="953262" lvl="1" indent="-514350">
              <a:buFont typeface="Wingdings" pitchFamily="2" charset="2"/>
              <a:buChar char="q"/>
            </a:pP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Ubuntu Linux</a:t>
            </a:r>
          </a:p>
          <a:p>
            <a:pPr marL="953262" lvl="1" indent="-514350">
              <a:buFont typeface="Wingdings" pitchFamily="2" charset="2"/>
              <a:buChar char="q"/>
            </a:pP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VMS</a:t>
            </a:r>
          </a:p>
          <a:p>
            <a:pPr marL="953262" lvl="1" indent="-514350">
              <a:buFont typeface="Wingdings" pitchFamily="2" charset="2"/>
              <a:buChar char="q"/>
            </a:pPr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entOS</a:t>
            </a: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953262" lvl="1" indent="-514350">
              <a:buFont typeface="Wingdings" pitchFamily="2" charset="2"/>
              <a:buChar char="q"/>
            </a:pP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MVS</a:t>
            </a:r>
          </a:p>
          <a:p>
            <a:pPr marL="953262" lvl="1" indent="-514350">
              <a:buFont typeface="+mj-lt"/>
              <a:buAutoNum type="arabicPeriod"/>
            </a:pP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64008" indent="0">
              <a:buNone/>
            </a:pPr>
            <a:r>
              <a:rPr lang="en-IE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Ans</a:t>
            </a:r>
            <a:r>
              <a:rPr lang="en-IE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: Ubuntu and </a:t>
            </a:r>
            <a:r>
              <a:rPr lang="en-IE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entOS</a:t>
            </a:r>
            <a:r>
              <a:rPr lang="en-IE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.  VMS is a legacy OS that was available for DEC machines, and MVS is for IBM Mainframes</a:t>
            </a:r>
            <a:endParaRPr lang="en-IE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7791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7494"/>
            <a:ext cx="9144000" cy="1399032"/>
          </a:xfrm>
        </p:spPr>
        <p:txBody>
          <a:bodyPr>
            <a:normAutofit/>
          </a:bodyPr>
          <a:lstStyle/>
          <a:p>
            <a:r>
              <a:rPr lang="en-IE" sz="4400" dirty="0" smtClean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Quiz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64008" indent="0">
              <a:buNone/>
            </a:pPr>
            <a:r>
              <a:rPr lang="en-IE" dirty="0" smtClean="0">
                <a:solidFill>
                  <a:schemeClr val="bg1"/>
                </a:solidFill>
                <a:latin typeface="Calibri" panose="020F0502020204030204" pitchFamily="34" charset="0"/>
              </a:rPr>
              <a:t>Q: Windows Azure Web Sites Gallery contains which of the following open source offerings:</a:t>
            </a:r>
          </a:p>
          <a:p>
            <a:pPr marL="953262" lvl="1" indent="-514350">
              <a:buFont typeface="Wingdings" pitchFamily="2" charset="2"/>
              <a:buChar char="q"/>
            </a:pPr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Joomla</a:t>
            </a: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953262" lvl="1" indent="-514350">
              <a:buFont typeface="Wingdings" pitchFamily="2" charset="2"/>
              <a:buChar char="q"/>
            </a:pPr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SCommerce</a:t>
            </a: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953262" lvl="1" indent="-514350">
              <a:buFont typeface="Wingdings" pitchFamily="2" charset="2"/>
              <a:buChar char="q"/>
            </a:pPr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Magento</a:t>
            </a: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953262" lvl="1" indent="-514350">
              <a:buFont typeface="Wingdings" pitchFamily="2" charset="2"/>
              <a:buChar char="q"/>
            </a:pPr>
            <a:r>
              <a:rPr lang="en-IE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ordPress</a:t>
            </a: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953262" lvl="1" indent="-514350">
              <a:buFont typeface="+mj-lt"/>
              <a:buAutoNum type="arabicPeriod"/>
            </a:pPr>
            <a:endParaRPr lang="en-IE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64008" indent="0">
              <a:buNone/>
            </a:pPr>
            <a:r>
              <a:rPr lang="en-IE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Ans</a:t>
            </a:r>
            <a:r>
              <a:rPr lang="en-IE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: </a:t>
            </a:r>
            <a:r>
              <a:rPr lang="en-IE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Joomla</a:t>
            </a:r>
            <a:r>
              <a:rPr lang="en-IE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and </a:t>
            </a:r>
            <a:r>
              <a:rPr lang="en-IE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ordPress</a:t>
            </a:r>
            <a:endParaRPr lang="en-IE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858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724394"/>
          </a:xfrm>
        </p:spPr>
        <p:txBody>
          <a:bodyPr>
            <a:normAutofit/>
          </a:bodyPr>
          <a:lstStyle/>
          <a:p>
            <a:r>
              <a:rPr lang="en-US" sz="4400" dirty="0" smtClean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Why Use Virtual Machines for Existing Applications?</a:t>
            </a:r>
            <a:endParaRPr lang="en-US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3334176" y="1808116"/>
            <a:ext cx="5647360" cy="482128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182880" rIns="91436" bIns="182880" numCol="1" rtlCol="0" anchor="ctr" anchorCtr="0" compatLnSpc="1">
            <a:prstTxWarp prst="textNoShape">
              <a:avLst/>
            </a:prstTxWarp>
          </a:bodyPr>
          <a:lstStyle/>
          <a:p>
            <a:pPr marL="228600" defTabSz="914363">
              <a:spcBef>
                <a:spcPts val="1800"/>
              </a:spcBef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Management</a:t>
            </a:r>
          </a:p>
          <a:p>
            <a:pPr marL="228600" defTabSz="914363"/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Retain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full control to configure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&amp;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maintain the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OS. Manage public &amp; private cloud </a:t>
            </a:r>
            <a:r>
              <a:rPr lang="en-US" sz="20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VMs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centrally with Microsoft System Center.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28600" defTabSz="914363">
              <a:spcBef>
                <a:spcPts val="1800"/>
              </a:spcBef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Application Mobility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28600" defTabSz="914363"/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M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ove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your virtual hard drives (</a:t>
            </a: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</a:rPr>
              <a:t>VHDs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) back and forth between on-premises and the cloud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.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No need to rebuild your app to run in the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loud.</a:t>
            </a:r>
          </a:p>
          <a:p>
            <a:pPr marL="228600" defTabSz="914363">
              <a:spcBef>
                <a:spcPts val="1800"/>
              </a:spcBef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Run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popular Microsoft server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applications</a:t>
            </a:r>
          </a:p>
          <a:p>
            <a:pPr marL="228600" defTabSz="914363"/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Run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the same on-premises enterprise applications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&amp;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infrastructure in the cloud,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uch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as Microsoft SQL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erver</a:t>
            </a:r>
            <a:endParaRPr lang="en-US" sz="2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96351" y="1808116"/>
            <a:ext cx="2894830" cy="482128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82880" tIns="182880" rIns="91440" bIns="45718" numCol="1" rtlCol="0" anchor="t" anchorCtr="0" compatLnSpc="1">
            <a:prstTxWarp prst="textNoShape">
              <a:avLst/>
            </a:prstTxWarp>
          </a:bodyPr>
          <a:lstStyle/>
          <a:p>
            <a:pPr defTabSz="914400">
              <a:lnSpc>
                <a:spcPct val="90000"/>
              </a:lnSpc>
              <a:buSzPct val="90000"/>
              <a:defRPr/>
            </a:pPr>
            <a:endParaRPr lang="en-US" sz="2900" ker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05418" y="2527089"/>
            <a:ext cx="1745616" cy="2802931"/>
            <a:chOff x="5062551" y="2861874"/>
            <a:chExt cx="2777268" cy="3345461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2" cstate="print">
              <a:lum bright="100000" contrast="100000"/>
            </a:blip>
            <a:srcRect/>
            <a:stretch>
              <a:fillRect/>
            </a:stretch>
          </p:blipFill>
          <p:spPr bwMode="auto">
            <a:xfrm>
              <a:off x="5062551" y="2861874"/>
              <a:ext cx="2148932" cy="1968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3" name="Isosceles Triangle 12"/>
            <p:cNvSpPr/>
            <p:nvPr/>
          </p:nvSpPr>
          <p:spPr bwMode="auto">
            <a:xfrm rot="9180217">
              <a:off x="6169786" y="4246310"/>
              <a:ext cx="1061647" cy="1329862"/>
            </a:xfrm>
            <a:prstGeom prst="triangle">
              <a:avLst>
                <a:gd name="adj" fmla="val 64317"/>
              </a:avLst>
            </a:prstGeom>
            <a:gradFill rotWithShape="1">
              <a:gsLst>
                <a:gs pos="0">
                  <a:sysClr val="window" lastClr="FFFFFF">
                    <a:lumMod val="95000"/>
                    <a:alpha val="0"/>
                  </a:sysClr>
                </a:gs>
                <a:gs pos="50000">
                  <a:schemeClr val="bg1">
                    <a:alpha val="58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>
                <a:defRPr/>
              </a:pPr>
              <a:endParaRPr lang="en-US" sz="1800" ker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lum bright="100000" contrast="100000"/>
            </a:blip>
            <a:stretch>
              <a:fillRect/>
            </a:stretch>
          </p:blipFill>
          <p:spPr>
            <a:xfrm>
              <a:off x="5725910" y="4947463"/>
              <a:ext cx="2113909" cy="1259872"/>
            </a:xfrm>
            <a:prstGeom prst="rect">
              <a:avLst/>
            </a:prstGeom>
            <a:noFill/>
            <a:ln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56693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852936"/>
            <a:ext cx="9144000" cy="1474184"/>
          </a:xfrm>
        </p:spPr>
        <p:txBody>
          <a:bodyPr>
            <a:normAutofit/>
          </a:bodyPr>
          <a:lstStyle/>
          <a:p>
            <a:pPr marL="64008" indent="0" algn="ctr">
              <a:buNone/>
            </a:pPr>
            <a:r>
              <a:rPr lang="en-IE" sz="48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hanks !~</a:t>
            </a:r>
            <a:endParaRPr lang="en-IE" sz="4800" i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74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78"/>
          <p:cNvSpPr/>
          <p:nvPr/>
        </p:nvSpPr>
        <p:spPr>
          <a:xfrm>
            <a:off x="816571" y="2508916"/>
            <a:ext cx="2400300" cy="339719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359" tIns="45681" rIns="91359" bIns="45681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343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5986608" y="2508916"/>
            <a:ext cx="2400300" cy="339719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359" tIns="45681" rIns="91359" bIns="45681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343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5" name="Freeform 18"/>
          <p:cNvSpPr>
            <a:spLocks/>
          </p:cNvSpPr>
          <p:nvPr/>
        </p:nvSpPr>
        <p:spPr bwMode="black">
          <a:xfrm>
            <a:off x="6179544" y="3275603"/>
            <a:ext cx="2014429" cy="1388718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91394" tIns="45699" rIns="91394" bIns="45699" numCol="1" anchor="t" anchorCtr="0" compatLnSpc="1">
            <a:prstTxWarp prst="textNoShape">
              <a:avLst/>
            </a:prstTxWarp>
          </a:bodyPr>
          <a:lstStyle/>
          <a:p>
            <a:pPr defTabSz="1218445"/>
            <a:endParaRPr lang="en-US"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67" name="Object 6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564427"/>
              </p:ext>
            </p:extLst>
          </p:nvPr>
        </p:nvGraphicFramePr>
        <p:xfrm>
          <a:off x="0" y="10"/>
          <a:ext cx="11909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0"/>
                        <a:ext cx="119094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an 16"/>
          <p:cNvSpPr/>
          <p:nvPr>
            <p:custDataLst>
              <p:tags r:id="rId3"/>
            </p:custDataLst>
          </p:nvPr>
        </p:nvSpPr>
        <p:spPr>
          <a:xfrm>
            <a:off x="6128857" y="3479232"/>
            <a:ext cx="697919" cy="1185091"/>
          </a:xfrm>
          <a:prstGeom prst="can">
            <a:avLst/>
          </a:prstGeom>
          <a:solidFill>
            <a:schemeClr val="accent5">
              <a:lumMod val="75000"/>
            </a:schemeClr>
          </a:solidFill>
          <a:ln w="666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9" rIns="91394" bIns="45699" rtlCol="0" anchor="ctr"/>
          <a:lstStyle/>
          <a:p>
            <a:pPr algn="ctr" defTabSz="91334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</a:rPr>
              <a:t>Blob Storage</a:t>
            </a:r>
          </a:p>
        </p:txBody>
      </p:sp>
      <p:sp>
        <p:nvSpPr>
          <p:cNvPr id="27" name="Rectangle 26"/>
          <p:cNvSpPr/>
          <p:nvPr>
            <p:custDataLst>
              <p:tags r:id="rId4"/>
            </p:custDataLst>
          </p:nvPr>
        </p:nvSpPr>
        <p:spPr>
          <a:xfrm>
            <a:off x="6027863" y="5435515"/>
            <a:ext cx="663871" cy="313890"/>
          </a:xfrm>
          <a:prstGeom prst="rect">
            <a:avLst/>
          </a:prstGeom>
        </p:spPr>
        <p:txBody>
          <a:bodyPr wrap="none" lIns="91394" tIns="45699" rIns="91394" bIns="45699">
            <a:spAutoFit/>
          </a:bodyPr>
          <a:lstStyle/>
          <a:p>
            <a:pPr algn="ctr" defTabSz="91334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</a:rPr>
              <a:t>Cloud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7416174" y="3787637"/>
            <a:ext cx="901796" cy="537573"/>
            <a:chOff x="8259914" y="559044"/>
            <a:chExt cx="1202082" cy="568276"/>
          </a:xfrm>
        </p:grpSpPr>
        <p:grpSp>
          <p:nvGrpSpPr>
            <p:cNvPr id="94" name="Group 93"/>
            <p:cNvGrpSpPr/>
            <p:nvPr/>
          </p:nvGrpSpPr>
          <p:grpSpPr>
            <a:xfrm>
              <a:off x="8305732" y="582764"/>
              <a:ext cx="1110447" cy="520837"/>
              <a:chOff x="9653250" y="811543"/>
              <a:chExt cx="1110447" cy="520837"/>
            </a:xfrm>
          </p:grpSpPr>
          <p:sp>
            <p:nvSpPr>
              <p:cNvPr id="96" name="Freeform 95"/>
              <p:cNvSpPr/>
              <p:nvPr/>
            </p:nvSpPr>
            <p:spPr>
              <a:xfrm>
                <a:off x="9695358" y="811543"/>
                <a:ext cx="1068339" cy="494151"/>
              </a:xfrm>
              <a:custGeom>
                <a:avLst/>
                <a:gdLst>
                  <a:gd name="connsiteX0" fmla="*/ 0 w 2000250"/>
                  <a:gd name="connsiteY0" fmla="*/ 333375 h 1347788"/>
                  <a:gd name="connsiteX1" fmla="*/ 895350 w 2000250"/>
                  <a:gd name="connsiteY1" fmla="*/ 0 h 1347788"/>
                  <a:gd name="connsiteX2" fmla="*/ 2000250 w 2000250"/>
                  <a:gd name="connsiteY2" fmla="*/ 357188 h 1347788"/>
                  <a:gd name="connsiteX3" fmla="*/ 1990725 w 2000250"/>
                  <a:gd name="connsiteY3" fmla="*/ 823913 h 1347788"/>
                  <a:gd name="connsiteX4" fmla="*/ 1147763 w 2000250"/>
                  <a:gd name="connsiteY4" fmla="*/ 1347788 h 1347788"/>
                  <a:gd name="connsiteX5" fmla="*/ 0 w 2000250"/>
                  <a:gd name="connsiteY5" fmla="*/ 333375 h 1347788"/>
                  <a:gd name="connsiteX0" fmla="*/ 19050 w 2019300"/>
                  <a:gd name="connsiteY0" fmla="*/ 333375 h 1347788"/>
                  <a:gd name="connsiteX1" fmla="*/ 914400 w 2019300"/>
                  <a:gd name="connsiteY1" fmla="*/ 0 h 1347788"/>
                  <a:gd name="connsiteX2" fmla="*/ 2019300 w 2019300"/>
                  <a:gd name="connsiteY2" fmla="*/ 357188 h 1347788"/>
                  <a:gd name="connsiteX3" fmla="*/ 2009775 w 2019300"/>
                  <a:gd name="connsiteY3" fmla="*/ 823913 h 1347788"/>
                  <a:gd name="connsiteX4" fmla="*/ 1166813 w 2019300"/>
                  <a:gd name="connsiteY4" fmla="*/ 1347788 h 1347788"/>
                  <a:gd name="connsiteX5" fmla="*/ 0 w 2019300"/>
                  <a:gd name="connsiteY5" fmla="*/ 702186 h 1347788"/>
                  <a:gd name="connsiteX6" fmla="*/ 19050 w 2019300"/>
                  <a:gd name="connsiteY6" fmla="*/ 333375 h 1347788"/>
                  <a:gd name="connsiteX0" fmla="*/ 19050 w 2019300"/>
                  <a:gd name="connsiteY0" fmla="*/ 333375 h 1347788"/>
                  <a:gd name="connsiteX1" fmla="*/ 914400 w 2019300"/>
                  <a:gd name="connsiteY1" fmla="*/ 0 h 1347788"/>
                  <a:gd name="connsiteX2" fmla="*/ 2019300 w 2019300"/>
                  <a:gd name="connsiteY2" fmla="*/ 357188 h 1347788"/>
                  <a:gd name="connsiteX3" fmla="*/ 2009775 w 2019300"/>
                  <a:gd name="connsiteY3" fmla="*/ 823913 h 1347788"/>
                  <a:gd name="connsiteX4" fmla="*/ 1166813 w 2019300"/>
                  <a:gd name="connsiteY4" fmla="*/ 1347788 h 1347788"/>
                  <a:gd name="connsiteX5" fmla="*/ 0 w 2019300"/>
                  <a:gd name="connsiteY5" fmla="*/ 702186 h 1347788"/>
                  <a:gd name="connsiteX6" fmla="*/ 19050 w 2019300"/>
                  <a:gd name="connsiteY6" fmla="*/ 333375 h 1347788"/>
                  <a:gd name="connsiteX0" fmla="*/ 19050 w 2019300"/>
                  <a:gd name="connsiteY0" fmla="*/ 333375 h 1347788"/>
                  <a:gd name="connsiteX1" fmla="*/ 914400 w 2019300"/>
                  <a:gd name="connsiteY1" fmla="*/ 0 h 1347788"/>
                  <a:gd name="connsiteX2" fmla="*/ 2019300 w 2019300"/>
                  <a:gd name="connsiteY2" fmla="*/ 357188 h 1347788"/>
                  <a:gd name="connsiteX3" fmla="*/ 2009775 w 2019300"/>
                  <a:gd name="connsiteY3" fmla="*/ 823913 h 1347788"/>
                  <a:gd name="connsiteX4" fmla="*/ 1166813 w 2019300"/>
                  <a:gd name="connsiteY4" fmla="*/ 1347788 h 1347788"/>
                  <a:gd name="connsiteX5" fmla="*/ 0 w 2019300"/>
                  <a:gd name="connsiteY5" fmla="*/ 702186 h 1347788"/>
                  <a:gd name="connsiteX6" fmla="*/ 19050 w 2019300"/>
                  <a:gd name="connsiteY6" fmla="*/ 333375 h 1347788"/>
                  <a:gd name="connsiteX0" fmla="*/ 19050 w 2028825"/>
                  <a:gd name="connsiteY0" fmla="*/ 333375 h 1347788"/>
                  <a:gd name="connsiteX1" fmla="*/ 914400 w 2028825"/>
                  <a:gd name="connsiteY1" fmla="*/ 0 h 1347788"/>
                  <a:gd name="connsiteX2" fmla="*/ 2028825 w 2028825"/>
                  <a:gd name="connsiteY2" fmla="*/ 404813 h 1347788"/>
                  <a:gd name="connsiteX3" fmla="*/ 2009775 w 2028825"/>
                  <a:gd name="connsiteY3" fmla="*/ 823913 h 1347788"/>
                  <a:gd name="connsiteX4" fmla="*/ 1166813 w 2028825"/>
                  <a:gd name="connsiteY4" fmla="*/ 1347788 h 1347788"/>
                  <a:gd name="connsiteX5" fmla="*/ 0 w 2028825"/>
                  <a:gd name="connsiteY5" fmla="*/ 702186 h 1347788"/>
                  <a:gd name="connsiteX6" fmla="*/ 19050 w 2028825"/>
                  <a:gd name="connsiteY6" fmla="*/ 333375 h 1347788"/>
                  <a:gd name="connsiteX0" fmla="*/ 0 w 2050257"/>
                  <a:gd name="connsiteY0" fmla="*/ 330994 h 1347788"/>
                  <a:gd name="connsiteX1" fmla="*/ 935832 w 2050257"/>
                  <a:gd name="connsiteY1" fmla="*/ 0 h 1347788"/>
                  <a:gd name="connsiteX2" fmla="*/ 2050257 w 2050257"/>
                  <a:gd name="connsiteY2" fmla="*/ 404813 h 1347788"/>
                  <a:gd name="connsiteX3" fmla="*/ 2031207 w 2050257"/>
                  <a:gd name="connsiteY3" fmla="*/ 823913 h 1347788"/>
                  <a:gd name="connsiteX4" fmla="*/ 1188245 w 2050257"/>
                  <a:gd name="connsiteY4" fmla="*/ 1347788 h 1347788"/>
                  <a:gd name="connsiteX5" fmla="*/ 21432 w 2050257"/>
                  <a:gd name="connsiteY5" fmla="*/ 702186 h 1347788"/>
                  <a:gd name="connsiteX6" fmla="*/ 0 w 2050257"/>
                  <a:gd name="connsiteY6" fmla="*/ 330994 h 1347788"/>
                  <a:gd name="connsiteX0" fmla="*/ 0 w 2050257"/>
                  <a:gd name="connsiteY0" fmla="*/ 330994 h 1347788"/>
                  <a:gd name="connsiteX1" fmla="*/ 935832 w 2050257"/>
                  <a:gd name="connsiteY1" fmla="*/ 0 h 1347788"/>
                  <a:gd name="connsiteX2" fmla="*/ 2050257 w 2050257"/>
                  <a:gd name="connsiteY2" fmla="*/ 404813 h 1347788"/>
                  <a:gd name="connsiteX3" fmla="*/ 2038351 w 2050257"/>
                  <a:gd name="connsiteY3" fmla="*/ 766763 h 1347788"/>
                  <a:gd name="connsiteX4" fmla="*/ 1188245 w 2050257"/>
                  <a:gd name="connsiteY4" fmla="*/ 1347788 h 1347788"/>
                  <a:gd name="connsiteX5" fmla="*/ 21432 w 2050257"/>
                  <a:gd name="connsiteY5" fmla="*/ 702186 h 1347788"/>
                  <a:gd name="connsiteX6" fmla="*/ 0 w 2050257"/>
                  <a:gd name="connsiteY6" fmla="*/ 330994 h 134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50257" h="1347788">
                    <a:moveTo>
                      <a:pt x="0" y="330994"/>
                    </a:moveTo>
                    <a:lnTo>
                      <a:pt x="935832" y="0"/>
                    </a:lnTo>
                    <a:lnTo>
                      <a:pt x="2050257" y="404813"/>
                    </a:lnTo>
                    <a:lnTo>
                      <a:pt x="2038351" y="766763"/>
                    </a:lnTo>
                    <a:lnTo>
                      <a:pt x="1188245" y="1347788"/>
                    </a:lnTo>
                    <a:cubicBezTo>
                      <a:pt x="988220" y="1253237"/>
                      <a:pt x="188120" y="801500"/>
                      <a:pt x="21432" y="702186"/>
                    </a:cubicBezTo>
                    <a:lnTo>
                      <a:pt x="0" y="330994"/>
                    </a:ln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45"/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7" name="Freeform 96"/>
              <p:cNvSpPr/>
              <p:nvPr/>
            </p:nvSpPr>
            <p:spPr>
              <a:xfrm>
                <a:off x="10335579" y="979939"/>
                <a:ext cx="413225" cy="301205"/>
              </a:xfrm>
              <a:custGeom>
                <a:avLst/>
                <a:gdLst>
                  <a:gd name="connsiteX0" fmla="*/ 847725 w 847725"/>
                  <a:gd name="connsiteY0" fmla="*/ 0 h 962025"/>
                  <a:gd name="connsiteX1" fmla="*/ 0 w 847725"/>
                  <a:gd name="connsiteY1" fmla="*/ 519112 h 962025"/>
                  <a:gd name="connsiteX2" fmla="*/ 0 w 847725"/>
                  <a:gd name="connsiteY2" fmla="*/ 962025 h 962025"/>
                  <a:gd name="connsiteX3" fmla="*/ 833438 w 847725"/>
                  <a:gd name="connsiteY3" fmla="*/ 428625 h 962025"/>
                  <a:gd name="connsiteX4" fmla="*/ 847725 w 847725"/>
                  <a:gd name="connsiteY4" fmla="*/ 0 h 962025"/>
                  <a:gd name="connsiteX0" fmla="*/ 847725 w 847725"/>
                  <a:gd name="connsiteY0" fmla="*/ 0 h 909638"/>
                  <a:gd name="connsiteX1" fmla="*/ 0 w 847725"/>
                  <a:gd name="connsiteY1" fmla="*/ 466725 h 909638"/>
                  <a:gd name="connsiteX2" fmla="*/ 0 w 847725"/>
                  <a:gd name="connsiteY2" fmla="*/ 909638 h 909638"/>
                  <a:gd name="connsiteX3" fmla="*/ 833438 w 847725"/>
                  <a:gd name="connsiteY3" fmla="*/ 376238 h 909638"/>
                  <a:gd name="connsiteX4" fmla="*/ 847725 w 847725"/>
                  <a:gd name="connsiteY4" fmla="*/ 0 h 909638"/>
                  <a:gd name="connsiteX0" fmla="*/ 850106 w 850106"/>
                  <a:gd name="connsiteY0" fmla="*/ 0 h 909638"/>
                  <a:gd name="connsiteX1" fmla="*/ 0 w 850106"/>
                  <a:gd name="connsiteY1" fmla="*/ 516731 h 909638"/>
                  <a:gd name="connsiteX2" fmla="*/ 2381 w 850106"/>
                  <a:gd name="connsiteY2" fmla="*/ 909638 h 909638"/>
                  <a:gd name="connsiteX3" fmla="*/ 835819 w 850106"/>
                  <a:gd name="connsiteY3" fmla="*/ 376238 h 909638"/>
                  <a:gd name="connsiteX4" fmla="*/ 850106 w 850106"/>
                  <a:gd name="connsiteY4" fmla="*/ 0 h 909638"/>
                  <a:gd name="connsiteX0" fmla="*/ 850106 w 850106"/>
                  <a:gd name="connsiteY0" fmla="*/ 0 h 892969"/>
                  <a:gd name="connsiteX1" fmla="*/ 0 w 850106"/>
                  <a:gd name="connsiteY1" fmla="*/ 516731 h 892969"/>
                  <a:gd name="connsiteX2" fmla="*/ 4763 w 850106"/>
                  <a:gd name="connsiteY2" fmla="*/ 892969 h 892969"/>
                  <a:gd name="connsiteX3" fmla="*/ 835819 w 850106"/>
                  <a:gd name="connsiteY3" fmla="*/ 376238 h 892969"/>
                  <a:gd name="connsiteX4" fmla="*/ 850106 w 850106"/>
                  <a:gd name="connsiteY4" fmla="*/ 0 h 892969"/>
                  <a:gd name="connsiteX0" fmla="*/ 845350 w 845350"/>
                  <a:gd name="connsiteY0" fmla="*/ 0 h 892969"/>
                  <a:gd name="connsiteX1" fmla="*/ 71444 w 845350"/>
                  <a:gd name="connsiteY1" fmla="*/ 502444 h 892969"/>
                  <a:gd name="connsiteX2" fmla="*/ 7 w 845350"/>
                  <a:gd name="connsiteY2" fmla="*/ 892969 h 892969"/>
                  <a:gd name="connsiteX3" fmla="*/ 831063 w 845350"/>
                  <a:gd name="connsiteY3" fmla="*/ 376238 h 892969"/>
                  <a:gd name="connsiteX4" fmla="*/ 845350 w 845350"/>
                  <a:gd name="connsiteY4" fmla="*/ 0 h 892969"/>
                  <a:gd name="connsiteX0" fmla="*/ 792978 w 792978"/>
                  <a:gd name="connsiteY0" fmla="*/ 0 h 850106"/>
                  <a:gd name="connsiteX1" fmla="*/ 19072 w 792978"/>
                  <a:gd name="connsiteY1" fmla="*/ 502444 h 850106"/>
                  <a:gd name="connsiteX2" fmla="*/ 23 w 792978"/>
                  <a:gd name="connsiteY2" fmla="*/ 850106 h 850106"/>
                  <a:gd name="connsiteX3" fmla="*/ 778691 w 792978"/>
                  <a:gd name="connsiteY3" fmla="*/ 376238 h 850106"/>
                  <a:gd name="connsiteX4" fmla="*/ 792978 w 792978"/>
                  <a:gd name="connsiteY4" fmla="*/ 0 h 850106"/>
                  <a:gd name="connsiteX0" fmla="*/ 793023 w 793023"/>
                  <a:gd name="connsiteY0" fmla="*/ 0 h 850106"/>
                  <a:gd name="connsiteX1" fmla="*/ 4829 w 793023"/>
                  <a:gd name="connsiteY1" fmla="*/ 511969 h 850106"/>
                  <a:gd name="connsiteX2" fmla="*/ 68 w 793023"/>
                  <a:gd name="connsiteY2" fmla="*/ 850106 h 850106"/>
                  <a:gd name="connsiteX3" fmla="*/ 778736 w 793023"/>
                  <a:gd name="connsiteY3" fmla="*/ 376238 h 850106"/>
                  <a:gd name="connsiteX4" fmla="*/ 793023 w 793023"/>
                  <a:gd name="connsiteY4" fmla="*/ 0 h 850106"/>
                  <a:gd name="connsiteX0" fmla="*/ 793023 w 793023"/>
                  <a:gd name="connsiteY0" fmla="*/ 0 h 821531"/>
                  <a:gd name="connsiteX1" fmla="*/ 4829 w 793023"/>
                  <a:gd name="connsiteY1" fmla="*/ 483394 h 821531"/>
                  <a:gd name="connsiteX2" fmla="*/ 68 w 793023"/>
                  <a:gd name="connsiteY2" fmla="*/ 821531 h 821531"/>
                  <a:gd name="connsiteX3" fmla="*/ 778736 w 793023"/>
                  <a:gd name="connsiteY3" fmla="*/ 347663 h 821531"/>
                  <a:gd name="connsiteX4" fmla="*/ 793023 w 793023"/>
                  <a:gd name="connsiteY4" fmla="*/ 0 h 821531"/>
                  <a:gd name="connsiteX0" fmla="*/ 793023 w 793023"/>
                  <a:gd name="connsiteY0" fmla="*/ 0 h 821531"/>
                  <a:gd name="connsiteX1" fmla="*/ 4829 w 793023"/>
                  <a:gd name="connsiteY1" fmla="*/ 483394 h 821531"/>
                  <a:gd name="connsiteX2" fmla="*/ 68 w 793023"/>
                  <a:gd name="connsiteY2" fmla="*/ 821531 h 821531"/>
                  <a:gd name="connsiteX3" fmla="*/ 783498 w 793023"/>
                  <a:gd name="connsiteY3" fmla="*/ 290513 h 821531"/>
                  <a:gd name="connsiteX4" fmla="*/ 793023 w 793023"/>
                  <a:gd name="connsiteY4" fmla="*/ 0 h 821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3023" h="821531">
                    <a:moveTo>
                      <a:pt x="793023" y="0"/>
                    </a:moveTo>
                    <a:lnTo>
                      <a:pt x="4829" y="483394"/>
                    </a:lnTo>
                    <a:cubicBezTo>
                      <a:pt x="5623" y="614363"/>
                      <a:pt x="-726" y="690562"/>
                      <a:pt x="68" y="821531"/>
                    </a:cubicBezTo>
                    <a:lnTo>
                      <a:pt x="783498" y="290513"/>
                    </a:lnTo>
                    <a:lnTo>
                      <a:pt x="793023" y="0"/>
                    </a:ln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45"/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8" name="Freeform 97"/>
              <p:cNvSpPr/>
              <p:nvPr/>
            </p:nvSpPr>
            <p:spPr>
              <a:xfrm>
                <a:off x="9666258" y="917023"/>
                <a:ext cx="656375" cy="415357"/>
              </a:xfrm>
              <a:custGeom>
                <a:avLst/>
                <a:gdLst>
                  <a:gd name="connsiteX0" fmla="*/ 0 w 1117600"/>
                  <a:gd name="connsiteY0" fmla="*/ 0 h 1123950"/>
                  <a:gd name="connsiteX1" fmla="*/ 1117600 w 1117600"/>
                  <a:gd name="connsiteY1" fmla="*/ 660400 h 1123950"/>
                  <a:gd name="connsiteX2" fmla="*/ 1111250 w 1117600"/>
                  <a:gd name="connsiteY2" fmla="*/ 1123950 h 1123950"/>
                  <a:gd name="connsiteX3" fmla="*/ 0 w 1117600"/>
                  <a:gd name="connsiteY3" fmla="*/ 476250 h 1123950"/>
                  <a:gd name="connsiteX4" fmla="*/ 0 w 1117600"/>
                  <a:gd name="connsiteY4" fmla="*/ 0 h 1123950"/>
                  <a:gd name="connsiteX0" fmla="*/ 19050 w 1117600"/>
                  <a:gd name="connsiteY0" fmla="*/ 0 h 1022350"/>
                  <a:gd name="connsiteX1" fmla="*/ 1117600 w 1117600"/>
                  <a:gd name="connsiteY1" fmla="*/ 558800 h 1022350"/>
                  <a:gd name="connsiteX2" fmla="*/ 1111250 w 1117600"/>
                  <a:gd name="connsiteY2" fmla="*/ 1022350 h 1022350"/>
                  <a:gd name="connsiteX3" fmla="*/ 0 w 1117600"/>
                  <a:gd name="connsiteY3" fmla="*/ 374650 h 1022350"/>
                  <a:gd name="connsiteX4" fmla="*/ 19050 w 1117600"/>
                  <a:gd name="connsiteY4" fmla="*/ 0 h 1022350"/>
                  <a:gd name="connsiteX0" fmla="*/ 19050 w 1117600"/>
                  <a:gd name="connsiteY0" fmla="*/ 0 h 1022350"/>
                  <a:gd name="connsiteX1" fmla="*/ 1117600 w 1117600"/>
                  <a:gd name="connsiteY1" fmla="*/ 596900 h 1022350"/>
                  <a:gd name="connsiteX2" fmla="*/ 1111250 w 1117600"/>
                  <a:gd name="connsiteY2" fmla="*/ 1022350 h 1022350"/>
                  <a:gd name="connsiteX3" fmla="*/ 0 w 1117600"/>
                  <a:gd name="connsiteY3" fmla="*/ 374650 h 1022350"/>
                  <a:gd name="connsiteX4" fmla="*/ 19050 w 1117600"/>
                  <a:gd name="connsiteY4" fmla="*/ 0 h 1022350"/>
                  <a:gd name="connsiteX0" fmla="*/ 6350 w 1117600"/>
                  <a:gd name="connsiteY0" fmla="*/ 0 h 990600"/>
                  <a:gd name="connsiteX1" fmla="*/ 1117600 w 1117600"/>
                  <a:gd name="connsiteY1" fmla="*/ 565150 h 990600"/>
                  <a:gd name="connsiteX2" fmla="*/ 1111250 w 1117600"/>
                  <a:gd name="connsiteY2" fmla="*/ 990600 h 990600"/>
                  <a:gd name="connsiteX3" fmla="*/ 0 w 1117600"/>
                  <a:gd name="connsiteY3" fmla="*/ 342900 h 990600"/>
                  <a:gd name="connsiteX4" fmla="*/ 6350 w 1117600"/>
                  <a:gd name="connsiteY4" fmla="*/ 0 h 990600"/>
                  <a:gd name="connsiteX0" fmla="*/ 0 w 1117686"/>
                  <a:gd name="connsiteY0" fmla="*/ 0 h 1003471"/>
                  <a:gd name="connsiteX1" fmla="*/ 1117686 w 1117686"/>
                  <a:gd name="connsiteY1" fmla="*/ 578021 h 1003471"/>
                  <a:gd name="connsiteX2" fmla="*/ 1111336 w 1117686"/>
                  <a:gd name="connsiteY2" fmla="*/ 1003471 h 1003471"/>
                  <a:gd name="connsiteX3" fmla="*/ 86 w 1117686"/>
                  <a:gd name="connsiteY3" fmla="*/ 355771 h 1003471"/>
                  <a:gd name="connsiteX4" fmla="*/ 0 w 1117686"/>
                  <a:gd name="connsiteY4" fmla="*/ 0 h 1003471"/>
                  <a:gd name="connsiteX0" fmla="*/ 0 w 1124122"/>
                  <a:gd name="connsiteY0" fmla="*/ 0 h 1003471"/>
                  <a:gd name="connsiteX1" fmla="*/ 1124122 w 1124122"/>
                  <a:gd name="connsiteY1" fmla="*/ 560858 h 1003471"/>
                  <a:gd name="connsiteX2" fmla="*/ 1111336 w 1124122"/>
                  <a:gd name="connsiteY2" fmla="*/ 1003471 h 1003471"/>
                  <a:gd name="connsiteX3" fmla="*/ 86 w 1124122"/>
                  <a:gd name="connsiteY3" fmla="*/ 355771 h 1003471"/>
                  <a:gd name="connsiteX4" fmla="*/ 0 w 1124122"/>
                  <a:gd name="connsiteY4" fmla="*/ 0 h 1003471"/>
                  <a:gd name="connsiteX0" fmla="*/ 0 w 1124122"/>
                  <a:gd name="connsiteY0" fmla="*/ 0 h 1020634"/>
                  <a:gd name="connsiteX1" fmla="*/ 1124122 w 1124122"/>
                  <a:gd name="connsiteY1" fmla="*/ 560858 h 1020634"/>
                  <a:gd name="connsiteX2" fmla="*/ 1117772 w 1124122"/>
                  <a:gd name="connsiteY2" fmla="*/ 1020634 h 1020634"/>
                  <a:gd name="connsiteX3" fmla="*/ 86 w 1124122"/>
                  <a:gd name="connsiteY3" fmla="*/ 355771 h 1020634"/>
                  <a:gd name="connsiteX4" fmla="*/ 0 w 1124122"/>
                  <a:gd name="connsiteY4" fmla="*/ 0 h 1020634"/>
                  <a:gd name="connsiteX0" fmla="*/ 0 w 1134848"/>
                  <a:gd name="connsiteY0" fmla="*/ 0 h 1020634"/>
                  <a:gd name="connsiteX1" fmla="*/ 1134848 w 1134848"/>
                  <a:gd name="connsiteY1" fmla="*/ 563003 h 1020634"/>
                  <a:gd name="connsiteX2" fmla="*/ 1117772 w 1134848"/>
                  <a:gd name="connsiteY2" fmla="*/ 1020634 h 1020634"/>
                  <a:gd name="connsiteX3" fmla="*/ 86 w 1134848"/>
                  <a:gd name="connsiteY3" fmla="*/ 355771 h 1020634"/>
                  <a:gd name="connsiteX4" fmla="*/ 0 w 1134848"/>
                  <a:gd name="connsiteY4" fmla="*/ 0 h 1020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4848" h="1020634">
                    <a:moveTo>
                      <a:pt x="0" y="0"/>
                    </a:moveTo>
                    <a:lnTo>
                      <a:pt x="1134848" y="563003"/>
                    </a:lnTo>
                    <a:cubicBezTo>
                      <a:pt x="1132731" y="717520"/>
                      <a:pt x="1119889" y="866117"/>
                      <a:pt x="1117772" y="1020634"/>
                    </a:cubicBezTo>
                    <a:lnTo>
                      <a:pt x="86" y="355771"/>
                    </a:lnTo>
                    <a:cubicBezTo>
                      <a:pt x="57" y="237181"/>
                      <a:pt x="29" y="118590"/>
                      <a:pt x="0" y="0"/>
                    </a:cubicBez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45"/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99" name="Freeform 98"/>
              <p:cNvSpPr/>
              <p:nvPr/>
            </p:nvSpPr>
            <p:spPr>
              <a:xfrm>
                <a:off x="9666308" y="922261"/>
                <a:ext cx="646399" cy="403135"/>
              </a:xfrm>
              <a:custGeom>
                <a:avLst/>
                <a:gdLst/>
                <a:ahLst/>
                <a:cxnLst/>
                <a:rect l="l" t="t" r="r" b="b"/>
                <a:pathLst>
                  <a:path w="1240510" h="1099542">
                    <a:moveTo>
                      <a:pt x="674872" y="621210"/>
                    </a:moveTo>
                    <a:lnTo>
                      <a:pt x="1024916" y="795041"/>
                    </a:lnTo>
                    <a:lnTo>
                      <a:pt x="1015392" y="861716"/>
                    </a:lnTo>
                    <a:lnTo>
                      <a:pt x="679634" y="687885"/>
                    </a:lnTo>
                    <a:close/>
                    <a:moveTo>
                      <a:pt x="674872" y="525469"/>
                    </a:moveTo>
                    <a:lnTo>
                      <a:pt x="1024916" y="699300"/>
                    </a:lnTo>
                    <a:lnTo>
                      <a:pt x="1015392" y="765975"/>
                    </a:lnTo>
                    <a:lnTo>
                      <a:pt x="679634" y="592144"/>
                    </a:lnTo>
                    <a:close/>
                    <a:moveTo>
                      <a:pt x="674872" y="438306"/>
                    </a:moveTo>
                    <a:lnTo>
                      <a:pt x="1024916" y="612137"/>
                    </a:lnTo>
                    <a:lnTo>
                      <a:pt x="1015392" y="678812"/>
                    </a:lnTo>
                    <a:lnTo>
                      <a:pt x="679634" y="504981"/>
                    </a:lnTo>
                    <a:close/>
                    <a:moveTo>
                      <a:pt x="148616" y="321907"/>
                    </a:moveTo>
                    <a:lnTo>
                      <a:pt x="229578" y="360007"/>
                    </a:lnTo>
                    <a:lnTo>
                      <a:pt x="220052" y="421920"/>
                    </a:lnTo>
                    <a:lnTo>
                      <a:pt x="162904" y="388582"/>
                    </a:lnTo>
                    <a:close/>
                    <a:moveTo>
                      <a:pt x="148616" y="245426"/>
                    </a:moveTo>
                    <a:lnTo>
                      <a:pt x="229578" y="283526"/>
                    </a:lnTo>
                    <a:lnTo>
                      <a:pt x="220052" y="345439"/>
                    </a:lnTo>
                    <a:lnTo>
                      <a:pt x="162904" y="312101"/>
                    </a:lnTo>
                    <a:close/>
                    <a:moveTo>
                      <a:pt x="148616" y="166843"/>
                    </a:moveTo>
                    <a:lnTo>
                      <a:pt x="229578" y="204943"/>
                    </a:lnTo>
                    <a:lnTo>
                      <a:pt x="220052" y="266856"/>
                    </a:lnTo>
                    <a:lnTo>
                      <a:pt x="162904" y="233518"/>
                    </a:lnTo>
                    <a:close/>
                    <a:moveTo>
                      <a:pt x="50232" y="67454"/>
                    </a:moveTo>
                    <a:lnTo>
                      <a:pt x="54244" y="360335"/>
                    </a:lnTo>
                    <a:lnTo>
                      <a:pt x="1190278" y="1041612"/>
                    </a:lnTo>
                    <a:cubicBezTo>
                      <a:pt x="1192116" y="907489"/>
                      <a:pt x="1189190" y="792150"/>
                      <a:pt x="1191028" y="658027"/>
                    </a:cubicBezTo>
                    <a:close/>
                    <a:moveTo>
                      <a:pt x="7048" y="0"/>
                    </a:moveTo>
                    <a:lnTo>
                      <a:pt x="1240510" y="627303"/>
                    </a:lnTo>
                    <a:cubicBezTo>
                      <a:pt x="1238160" y="798813"/>
                      <a:pt x="1235812" y="928032"/>
                      <a:pt x="1233462" y="1099542"/>
                    </a:cubicBezTo>
                    <a:lnTo>
                      <a:pt x="0" y="380611"/>
                    </a:ln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45"/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0" name="Freeform 99"/>
              <p:cNvSpPr/>
              <p:nvPr/>
            </p:nvSpPr>
            <p:spPr>
              <a:xfrm>
                <a:off x="9653250" y="962938"/>
                <a:ext cx="83128" cy="136445"/>
              </a:xfrm>
              <a:custGeom>
                <a:avLst/>
                <a:gdLst>
                  <a:gd name="connsiteX0" fmla="*/ 107950 w 152400"/>
                  <a:gd name="connsiteY0" fmla="*/ 0 h 349250"/>
                  <a:gd name="connsiteX1" fmla="*/ 0 w 152400"/>
                  <a:gd name="connsiteY1" fmla="*/ 50800 h 349250"/>
                  <a:gd name="connsiteX2" fmla="*/ 0 w 152400"/>
                  <a:gd name="connsiteY2" fmla="*/ 349250 h 349250"/>
                  <a:gd name="connsiteX3" fmla="*/ 146050 w 152400"/>
                  <a:gd name="connsiteY3" fmla="*/ 266700 h 349250"/>
                  <a:gd name="connsiteX4" fmla="*/ 152400 w 152400"/>
                  <a:gd name="connsiteY4" fmla="*/ 209550 h 349250"/>
                  <a:gd name="connsiteX5" fmla="*/ 38100 w 152400"/>
                  <a:gd name="connsiteY5" fmla="*/ 285750 h 349250"/>
                  <a:gd name="connsiteX6" fmla="*/ 38100 w 152400"/>
                  <a:gd name="connsiteY6" fmla="*/ 101600 h 349250"/>
                  <a:gd name="connsiteX7" fmla="*/ 107950 w 152400"/>
                  <a:gd name="connsiteY7" fmla="*/ 69850 h 349250"/>
                  <a:gd name="connsiteX8" fmla="*/ 107950 w 152400"/>
                  <a:gd name="connsiteY8" fmla="*/ 0 h 349250"/>
                  <a:gd name="connsiteX0" fmla="*/ 107950 w 146050"/>
                  <a:gd name="connsiteY0" fmla="*/ 0 h 349250"/>
                  <a:gd name="connsiteX1" fmla="*/ 0 w 146050"/>
                  <a:gd name="connsiteY1" fmla="*/ 50800 h 349250"/>
                  <a:gd name="connsiteX2" fmla="*/ 0 w 146050"/>
                  <a:gd name="connsiteY2" fmla="*/ 349250 h 349250"/>
                  <a:gd name="connsiteX3" fmla="*/ 146050 w 146050"/>
                  <a:gd name="connsiteY3" fmla="*/ 266700 h 349250"/>
                  <a:gd name="connsiteX4" fmla="*/ 123825 w 146050"/>
                  <a:gd name="connsiteY4" fmla="*/ 230981 h 349250"/>
                  <a:gd name="connsiteX5" fmla="*/ 38100 w 146050"/>
                  <a:gd name="connsiteY5" fmla="*/ 285750 h 349250"/>
                  <a:gd name="connsiteX6" fmla="*/ 38100 w 146050"/>
                  <a:gd name="connsiteY6" fmla="*/ 101600 h 349250"/>
                  <a:gd name="connsiteX7" fmla="*/ 107950 w 146050"/>
                  <a:gd name="connsiteY7" fmla="*/ 69850 h 349250"/>
                  <a:gd name="connsiteX8" fmla="*/ 107950 w 146050"/>
                  <a:gd name="connsiteY8" fmla="*/ 0 h 349250"/>
                  <a:gd name="connsiteX0" fmla="*/ 107950 w 124619"/>
                  <a:gd name="connsiteY0" fmla="*/ 0 h 349250"/>
                  <a:gd name="connsiteX1" fmla="*/ 0 w 124619"/>
                  <a:gd name="connsiteY1" fmla="*/ 50800 h 349250"/>
                  <a:gd name="connsiteX2" fmla="*/ 0 w 124619"/>
                  <a:gd name="connsiteY2" fmla="*/ 349250 h 349250"/>
                  <a:gd name="connsiteX3" fmla="*/ 124619 w 124619"/>
                  <a:gd name="connsiteY3" fmla="*/ 288131 h 349250"/>
                  <a:gd name="connsiteX4" fmla="*/ 123825 w 124619"/>
                  <a:gd name="connsiteY4" fmla="*/ 230981 h 349250"/>
                  <a:gd name="connsiteX5" fmla="*/ 38100 w 124619"/>
                  <a:gd name="connsiteY5" fmla="*/ 285750 h 349250"/>
                  <a:gd name="connsiteX6" fmla="*/ 38100 w 124619"/>
                  <a:gd name="connsiteY6" fmla="*/ 101600 h 349250"/>
                  <a:gd name="connsiteX7" fmla="*/ 107950 w 124619"/>
                  <a:gd name="connsiteY7" fmla="*/ 69850 h 349250"/>
                  <a:gd name="connsiteX8" fmla="*/ 107950 w 124619"/>
                  <a:gd name="connsiteY8" fmla="*/ 0 h 349250"/>
                  <a:gd name="connsiteX0" fmla="*/ 107950 w 124619"/>
                  <a:gd name="connsiteY0" fmla="*/ 0 h 349250"/>
                  <a:gd name="connsiteX1" fmla="*/ 0 w 124619"/>
                  <a:gd name="connsiteY1" fmla="*/ 50800 h 349250"/>
                  <a:gd name="connsiteX2" fmla="*/ 0 w 124619"/>
                  <a:gd name="connsiteY2" fmla="*/ 349250 h 349250"/>
                  <a:gd name="connsiteX3" fmla="*/ 124619 w 124619"/>
                  <a:gd name="connsiteY3" fmla="*/ 278606 h 349250"/>
                  <a:gd name="connsiteX4" fmla="*/ 123825 w 124619"/>
                  <a:gd name="connsiteY4" fmla="*/ 230981 h 349250"/>
                  <a:gd name="connsiteX5" fmla="*/ 38100 w 124619"/>
                  <a:gd name="connsiteY5" fmla="*/ 285750 h 349250"/>
                  <a:gd name="connsiteX6" fmla="*/ 38100 w 124619"/>
                  <a:gd name="connsiteY6" fmla="*/ 101600 h 349250"/>
                  <a:gd name="connsiteX7" fmla="*/ 107950 w 124619"/>
                  <a:gd name="connsiteY7" fmla="*/ 69850 h 349250"/>
                  <a:gd name="connsiteX8" fmla="*/ 107950 w 124619"/>
                  <a:gd name="connsiteY8" fmla="*/ 0 h 349250"/>
                  <a:gd name="connsiteX0" fmla="*/ 107950 w 124619"/>
                  <a:gd name="connsiteY0" fmla="*/ 1577 h 350827"/>
                  <a:gd name="connsiteX1" fmla="*/ 0 w 124619"/>
                  <a:gd name="connsiteY1" fmla="*/ 52377 h 350827"/>
                  <a:gd name="connsiteX2" fmla="*/ 0 w 124619"/>
                  <a:gd name="connsiteY2" fmla="*/ 350827 h 350827"/>
                  <a:gd name="connsiteX3" fmla="*/ 124619 w 124619"/>
                  <a:gd name="connsiteY3" fmla="*/ 280183 h 350827"/>
                  <a:gd name="connsiteX4" fmla="*/ 123825 w 124619"/>
                  <a:gd name="connsiteY4" fmla="*/ 232558 h 350827"/>
                  <a:gd name="connsiteX5" fmla="*/ 38100 w 124619"/>
                  <a:gd name="connsiteY5" fmla="*/ 287327 h 350827"/>
                  <a:gd name="connsiteX6" fmla="*/ 38100 w 124619"/>
                  <a:gd name="connsiteY6" fmla="*/ 103177 h 350827"/>
                  <a:gd name="connsiteX7" fmla="*/ 107950 w 124619"/>
                  <a:gd name="connsiteY7" fmla="*/ 71427 h 350827"/>
                  <a:gd name="connsiteX8" fmla="*/ 107950 w 124619"/>
                  <a:gd name="connsiteY8" fmla="*/ 1577 h 350827"/>
                  <a:gd name="connsiteX0" fmla="*/ 107950 w 127415"/>
                  <a:gd name="connsiteY0" fmla="*/ 1450 h 350700"/>
                  <a:gd name="connsiteX1" fmla="*/ 0 w 127415"/>
                  <a:gd name="connsiteY1" fmla="*/ 52250 h 350700"/>
                  <a:gd name="connsiteX2" fmla="*/ 0 w 127415"/>
                  <a:gd name="connsiteY2" fmla="*/ 350700 h 350700"/>
                  <a:gd name="connsiteX3" fmla="*/ 124619 w 127415"/>
                  <a:gd name="connsiteY3" fmla="*/ 280056 h 350700"/>
                  <a:gd name="connsiteX4" fmla="*/ 123825 w 127415"/>
                  <a:gd name="connsiteY4" fmla="*/ 232431 h 350700"/>
                  <a:gd name="connsiteX5" fmla="*/ 38100 w 127415"/>
                  <a:gd name="connsiteY5" fmla="*/ 287200 h 350700"/>
                  <a:gd name="connsiteX6" fmla="*/ 38100 w 127415"/>
                  <a:gd name="connsiteY6" fmla="*/ 103050 h 350700"/>
                  <a:gd name="connsiteX7" fmla="*/ 107950 w 127415"/>
                  <a:gd name="connsiteY7" fmla="*/ 71300 h 350700"/>
                  <a:gd name="connsiteX8" fmla="*/ 107950 w 127415"/>
                  <a:gd name="connsiteY8" fmla="*/ 1450 h 350700"/>
                  <a:gd name="connsiteX0" fmla="*/ 107950 w 135126"/>
                  <a:gd name="connsiteY0" fmla="*/ 1450 h 350700"/>
                  <a:gd name="connsiteX1" fmla="*/ 0 w 135126"/>
                  <a:gd name="connsiteY1" fmla="*/ 52250 h 350700"/>
                  <a:gd name="connsiteX2" fmla="*/ 0 w 135126"/>
                  <a:gd name="connsiteY2" fmla="*/ 350700 h 350700"/>
                  <a:gd name="connsiteX3" fmla="*/ 124619 w 135126"/>
                  <a:gd name="connsiteY3" fmla="*/ 280056 h 350700"/>
                  <a:gd name="connsiteX4" fmla="*/ 123825 w 135126"/>
                  <a:gd name="connsiteY4" fmla="*/ 232431 h 350700"/>
                  <a:gd name="connsiteX5" fmla="*/ 38100 w 135126"/>
                  <a:gd name="connsiteY5" fmla="*/ 287200 h 350700"/>
                  <a:gd name="connsiteX6" fmla="*/ 38100 w 135126"/>
                  <a:gd name="connsiteY6" fmla="*/ 103050 h 350700"/>
                  <a:gd name="connsiteX7" fmla="*/ 107950 w 135126"/>
                  <a:gd name="connsiteY7" fmla="*/ 71300 h 350700"/>
                  <a:gd name="connsiteX8" fmla="*/ 107950 w 135126"/>
                  <a:gd name="connsiteY8" fmla="*/ 1450 h 350700"/>
                  <a:gd name="connsiteX0" fmla="*/ 107950 w 150337"/>
                  <a:gd name="connsiteY0" fmla="*/ 1450 h 350700"/>
                  <a:gd name="connsiteX1" fmla="*/ 0 w 150337"/>
                  <a:gd name="connsiteY1" fmla="*/ 52250 h 350700"/>
                  <a:gd name="connsiteX2" fmla="*/ 0 w 150337"/>
                  <a:gd name="connsiteY2" fmla="*/ 350700 h 350700"/>
                  <a:gd name="connsiteX3" fmla="*/ 124619 w 150337"/>
                  <a:gd name="connsiteY3" fmla="*/ 280056 h 350700"/>
                  <a:gd name="connsiteX4" fmla="*/ 123825 w 150337"/>
                  <a:gd name="connsiteY4" fmla="*/ 232431 h 350700"/>
                  <a:gd name="connsiteX5" fmla="*/ 38100 w 150337"/>
                  <a:gd name="connsiteY5" fmla="*/ 287200 h 350700"/>
                  <a:gd name="connsiteX6" fmla="*/ 38100 w 150337"/>
                  <a:gd name="connsiteY6" fmla="*/ 103050 h 350700"/>
                  <a:gd name="connsiteX7" fmla="*/ 107950 w 150337"/>
                  <a:gd name="connsiteY7" fmla="*/ 71300 h 350700"/>
                  <a:gd name="connsiteX8" fmla="*/ 107950 w 150337"/>
                  <a:gd name="connsiteY8" fmla="*/ 1450 h 350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337" h="350700">
                    <a:moveTo>
                      <a:pt x="107950" y="1450"/>
                    </a:moveTo>
                    <a:lnTo>
                      <a:pt x="0" y="52250"/>
                    </a:lnTo>
                    <a:lnTo>
                      <a:pt x="0" y="350700"/>
                    </a:lnTo>
                    <a:lnTo>
                      <a:pt x="124619" y="280056"/>
                    </a:lnTo>
                    <a:cubicBezTo>
                      <a:pt x="167802" y="254799"/>
                      <a:pt x="148917" y="214239"/>
                      <a:pt x="123825" y="232431"/>
                    </a:cubicBezTo>
                    <a:lnTo>
                      <a:pt x="38100" y="287200"/>
                    </a:lnTo>
                    <a:lnTo>
                      <a:pt x="38100" y="103050"/>
                    </a:lnTo>
                    <a:lnTo>
                      <a:pt x="107950" y="71300"/>
                    </a:lnTo>
                    <a:cubicBezTo>
                      <a:pt x="136916" y="54224"/>
                      <a:pt x="130708" y="-10439"/>
                      <a:pt x="107950" y="1450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45"/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1" name="Freeform 100"/>
              <p:cNvSpPr/>
              <p:nvPr/>
            </p:nvSpPr>
            <p:spPr>
              <a:xfrm>
                <a:off x="10166864" y="1151420"/>
                <a:ext cx="90161" cy="147988"/>
              </a:xfrm>
              <a:custGeom>
                <a:avLst/>
                <a:gdLst>
                  <a:gd name="connsiteX0" fmla="*/ 107950 w 152400"/>
                  <a:gd name="connsiteY0" fmla="*/ 0 h 349250"/>
                  <a:gd name="connsiteX1" fmla="*/ 0 w 152400"/>
                  <a:gd name="connsiteY1" fmla="*/ 50800 h 349250"/>
                  <a:gd name="connsiteX2" fmla="*/ 0 w 152400"/>
                  <a:gd name="connsiteY2" fmla="*/ 349250 h 349250"/>
                  <a:gd name="connsiteX3" fmla="*/ 146050 w 152400"/>
                  <a:gd name="connsiteY3" fmla="*/ 266700 h 349250"/>
                  <a:gd name="connsiteX4" fmla="*/ 152400 w 152400"/>
                  <a:gd name="connsiteY4" fmla="*/ 209550 h 349250"/>
                  <a:gd name="connsiteX5" fmla="*/ 38100 w 152400"/>
                  <a:gd name="connsiteY5" fmla="*/ 285750 h 349250"/>
                  <a:gd name="connsiteX6" fmla="*/ 38100 w 152400"/>
                  <a:gd name="connsiteY6" fmla="*/ 101600 h 349250"/>
                  <a:gd name="connsiteX7" fmla="*/ 107950 w 152400"/>
                  <a:gd name="connsiteY7" fmla="*/ 69850 h 349250"/>
                  <a:gd name="connsiteX8" fmla="*/ 107950 w 152400"/>
                  <a:gd name="connsiteY8" fmla="*/ 0 h 349250"/>
                  <a:gd name="connsiteX0" fmla="*/ 107950 w 146050"/>
                  <a:gd name="connsiteY0" fmla="*/ 0 h 349250"/>
                  <a:gd name="connsiteX1" fmla="*/ 0 w 146050"/>
                  <a:gd name="connsiteY1" fmla="*/ 50800 h 349250"/>
                  <a:gd name="connsiteX2" fmla="*/ 0 w 146050"/>
                  <a:gd name="connsiteY2" fmla="*/ 349250 h 349250"/>
                  <a:gd name="connsiteX3" fmla="*/ 146050 w 146050"/>
                  <a:gd name="connsiteY3" fmla="*/ 266700 h 349250"/>
                  <a:gd name="connsiteX4" fmla="*/ 123825 w 146050"/>
                  <a:gd name="connsiteY4" fmla="*/ 230981 h 349250"/>
                  <a:gd name="connsiteX5" fmla="*/ 38100 w 146050"/>
                  <a:gd name="connsiteY5" fmla="*/ 285750 h 349250"/>
                  <a:gd name="connsiteX6" fmla="*/ 38100 w 146050"/>
                  <a:gd name="connsiteY6" fmla="*/ 101600 h 349250"/>
                  <a:gd name="connsiteX7" fmla="*/ 107950 w 146050"/>
                  <a:gd name="connsiteY7" fmla="*/ 69850 h 349250"/>
                  <a:gd name="connsiteX8" fmla="*/ 107950 w 146050"/>
                  <a:gd name="connsiteY8" fmla="*/ 0 h 349250"/>
                  <a:gd name="connsiteX0" fmla="*/ 107950 w 124619"/>
                  <a:gd name="connsiteY0" fmla="*/ 0 h 349250"/>
                  <a:gd name="connsiteX1" fmla="*/ 0 w 124619"/>
                  <a:gd name="connsiteY1" fmla="*/ 50800 h 349250"/>
                  <a:gd name="connsiteX2" fmla="*/ 0 w 124619"/>
                  <a:gd name="connsiteY2" fmla="*/ 349250 h 349250"/>
                  <a:gd name="connsiteX3" fmla="*/ 124619 w 124619"/>
                  <a:gd name="connsiteY3" fmla="*/ 288131 h 349250"/>
                  <a:gd name="connsiteX4" fmla="*/ 123825 w 124619"/>
                  <a:gd name="connsiteY4" fmla="*/ 230981 h 349250"/>
                  <a:gd name="connsiteX5" fmla="*/ 38100 w 124619"/>
                  <a:gd name="connsiteY5" fmla="*/ 285750 h 349250"/>
                  <a:gd name="connsiteX6" fmla="*/ 38100 w 124619"/>
                  <a:gd name="connsiteY6" fmla="*/ 101600 h 349250"/>
                  <a:gd name="connsiteX7" fmla="*/ 107950 w 124619"/>
                  <a:gd name="connsiteY7" fmla="*/ 69850 h 349250"/>
                  <a:gd name="connsiteX8" fmla="*/ 107950 w 124619"/>
                  <a:gd name="connsiteY8" fmla="*/ 0 h 349250"/>
                  <a:gd name="connsiteX0" fmla="*/ 107950 w 124619"/>
                  <a:gd name="connsiteY0" fmla="*/ 0 h 349250"/>
                  <a:gd name="connsiteX1" fmla="*/ 0 w 124619"/>
                  <a:gd name="connsiteY1" fmla="*/ 50800 h 349250"/>
                  <a:gd name="connsiteX2" fmla="*/ 0 w 124619"/>
                  <a:gd name="connsiteY2" fmla="*/ 349250 h 349250"/>
                  <a:gd name="connsiteX3" fmla="*/ 124619 w 124619"/>
                  <a:gd name="connsiteY3" fmla="*/ 278606 h 349250"/>
                  <a:gd name="connsiteX4" fmla="*/ 123825 w 124619"/>
                  <a:gd name="connsiteY4" fmla="*/ 230981 h 349250"/>
                  <a:gd name="connsiteX5" fmla="*/ 38100 w 124619"/>
                  <a:gd name="connsiteY5" fmla="*/ 285750 h 349250"/>
                  <a:gd name="connsiteX6" fmla="*/ 38100 w 124619"/>
                  <a:gd name="connsiteY6" fmla="*/ 101600 h 349250"/>
                  <a:gd name="connsiteX7" fmla="*/ 107950 w 124619"/>
                  <a:gd name="connsiteY7" fmla="*/ 69850 h 349250"/>
                  <a:gd name="connsiteX8" fmla="*/ 107950 w 124619"/>
                  <a:gd name="connsiteY8" fmla="*/ 0 h 349250"/>
                  <a:gd name="connsiteX0" fmla="*/ 107950 w 124619"/>
                  <a:gd name="connsiteY0" fmla="*/ 1577 h 350827"/>
                  <a:gd name="connsiteX1" fmla="*/ 0 w 124619"/>
                  <a:gd name="connsiteY1" fmla="*/ 52377 h 350827"/>
                  <a:gd name="connsiteX2" fmla="*/ 0 w 124619"/>
                  <a:gd name="connsiteY2" fmla="*/ 350827 h 350827"/>
                  <a:gd name="connsiteX3" fmla="*/ 124619 w 124619"/>
                  <a:gd name="connsiteY3" fmla="*/ 280183 h 350827"/>
                  <a:gd name="connsiteX4" fmla="*/ 123825 w 124619"/>
                  <a:gd name="connsiteY4" fmla="*/ 232558 h 350827"/>
                  <a:gd name="connsiteX5" fmla="*/ 38100 w 124619"/>
                  <a:gd name="connsiteY5" fmla="*/ 287327 h 350827"/>
                  <a:gd name="connsiteX6" fmla="*/ 38100 w 124619"/>
                  <a:gd name="connsiteY6" fmla="*/ 103177 h 350827"/>
                  <a:gd name="connsiteX7" fmla="*/ 107950 w 124619"/>
                  <a:gd name="connsiteY7" fmla="*/ 71427 h 350827"/>
                  <a:gd name="connsiteX8" fmla="*/ 107950 w 124619"/>
                  <a:gd name="connsiteY8" fmla="*/ 1577 h 350827"/>
                  <a:gd name="connsiteX0" fmla="*/ 107950 w 127415"/>
                  <a:gd name="connsiteY0" fmla="*/ 1450 h 350700"/>
                  <a:gd name="connsiteX1" fmla="*/ 0 w 127415"/>
                  <a:gd name="connsiteY1" fmla="*/ 52250 h 350700"/>
                  <a:gd name="connsiteX2" fmla="*/ 0 w 127415"/>
                  <a:gd name="connsiteY2" fmla="*/ 350700 h 350700"/>
                  <a:gd name="connsiteX3" fmla="*/ 124619 w 127415"/>
                  <a:gd name="connsiteY3" fmla="*/ 280056 h 350700"/>
                  <a:gd name="connsiteX4" fmla="*/ 123825 w 127415"/>
                  <a:gd name="connsiteY4" fmla="*/ 232431 h 350700"/>
                  <a:gd name="connsiteX5" fmla="*/ 38100 w 127415"/>
                  <a:gd name="connsiteY5" fmla="*/ 287200 h 350700"/>
                  <a:gd name="connsiteX6" fmla="*/ 38100 w 127415"/>
                  <a:gd name="connsiteY6" fmla="*/ 103050 h 350700"/>
                  <a:gd name="connsiteX7" fmla="*/ 107950 w 127415"/>
                  <a:gd name="connsiteY7" fmla="*/ 71300 h 350700"/>
                  <a:gd name="connsiteX8" fmla="*/ 107950 w 127415"/>
                  <a:gd name="connsiteY8" fmla="*/ 1450 h 350700"/>
                  <a:gd name="connsiteX0" fmla="*/ 107950 w 135126"/>
                  <a:gd name="connsiteY0" fmla="*/ 1450 h 350700"/>
                  <a:gd name="connsiteX1" fmla="*/ 0 w 135126"/>
                  <a:gd name="connsiteY1" fmla="*/ 52250 h 350700"/>
                  <a:gd name="connsiteX2" fmla="*/ 0 w 135126"/>
                  <a:gd name="connsiteY2" fmla="*/ 350700 h 350700"/>
                  <a:gd name="connsiteX3" fmla="*/ 124619 w 135126"/>
                  <a:gd name="connsiteY3" fmla="*/ 280056 h 350700"/>
                  <a:gd name="connsiteX4" fmla="*/ 123825 w 135126"/>
                  <a:gd name="connsiteY4" fmla="*/ 232431 h 350700"/>
                  <a:gd name="connsiteX5" fmla="*/ 38100 w 135126"/>
                  <a:gd name="connsiteY5" fmla="*/ 287200 h 350700"/>
                  <a:gd name="connsiteX6" fmla="*/ 38100 w 135126"/>
                  <a:gd name="connsiteY6" fmla="*/ 103050 h 350700"/>
                  <a:gd name="connsiteX7" fmla="*/ 107950 w 135126"/>
                  <a:gd name="connsiteY7" fmla="*/ 71300 h 350700"/>
                  <a:gd name="connsiteX8" fmla="*/ 107950 w 135126"/>
                  <a:gd name="connsiteY8" fmla="*/ 1450 h 350700"/>
                  <a:gd name="connsiteX0" fmla="*/ 107950 w 150337"/>
                  <a:gd name="connsiteY0" fmla="*/ 1450 h 350700"/>
                  <a:gd name="connsiteX1" fmla="*/ 0 w 150337"/>
                  <a:gd name="connsiteY1" fmla="*/ 52250 h 350700"/>
                  <a:gd name="connsiteX2" fmla="*/ 0 w 150337"/>
                  <a:gd name="connsiteY2" fmla="*/ 350700 h 350700"/>
                  <a:gd name="connsiteX3" fmla="*/ 124619 w 150337"/>
                  <a:gd name="connsiteY3" fmla="*/ 280056 h 350700"/>
                  <a:gd name="connsiteX4" fmla="*/ 123825 w 150337"/>
                  <a:gd name="connsiteY4" fmla="*/ 232431 h 350700"/>
                  <a:gd name="connsiteX5" fmla="*/ 38100 w 150337"/>
                  <a:gd name="connsiteY5" fmla="*/ 287200 h 350700"/>
                  <a:gd name="connsiteX6" fmla="*/ 38100 w 150337"/>
                  <a:gd name="connsiteY6" fmla="*/ 103050 h 350700"/>
                  <a:gd name="connsiteX7" fmla="*/ 107950 w 150337"/>
                  <a:gd name="connsiteY7" fmla="*/ 71300 h 350700"/>
                  <a:gd name="connsiteX8" fmla="*/ 107950 w 150337"/>
                  <a:gd name="connsiteY8" fmla="*/ 1450 h 350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0337" h="350700">
                    <a:moveTo>
                      <a:pt x="107950" y="1450"/>
                    </a:moveTo>
                    <a:lnTo>
                      <a:pt x="0" y="52250"/>
                    </a:lnTo>
                    <a:lnTo>
                      <a:pt x="0" y="350700"/>
                    </a:lnTo>
                    <a:lnTo>
                      <a:pt x="124619" y="280056"/>
                    </a:lnTo>
                    <a:cubicBezTo>
                      <a:pt x="167802" y="254799"/>
                      <a:pt x="148917" y="214239"/>
                      <a:pt x="123825" y="232431"/>
                    </a:cubicBezTo>
                    <a:lnTo>
                      <a:pt x="38100" y="287200"/>
                    </a:lnTo>
                    <a:lnTo>
                      <a:pt x="38100" y="103050"/>
                    </a:lnTo>
                    <a:lnTo>
                      <a:pt x="107950" y="71300"/>
                    </a:lnTo>
                    <a:cubicBezTo>
                      <a:pt x="136916" y="54224"/>
                      <a:pt x="130708" y="-10439"/>
                      <a:pt x="107950" y="1450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45"/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2" name="Freeform 101"/>
              <p:cNvSpPr/>
              <p:nvPr/>
            </p:nvSpPr>
            <p:spPr>
              <a:xfrm>
                <a:off x="9665449" y="970270"/>
                <a:ext cx="78674" cy="120381"/>
              </a:xfrm>
              <a:custGeom>
                <a:avLst/>
                <a:gdLst>
                  <a:gd name="connsiteX0" fmla="*/ 107950 w 152400"/>
                  <a:gd name="connsiteY0" fmla="*/ 0 h 349250"/>
                  <a:gd name="connsiteX1" fmla="*/ 0 w 152400"/>
                  <a:gd name="connsiteY1" fmla="*/ 50800 h 349250"/>
                  <a:gd name="connsiteX2" fmla="*/ 0 w 152400"/>
                  <a:gd name="connsiteY2" fmla="*/ 349250 h 349250"/>
                  <a:gd name="connsiteX3" fmla="*/ 146050 w 152400"/>
                  <a:gd name="connsiteY3" fmla="*/ 266700 h 349250"/>
                  <a:gd name="connsiteX4" fmla="*/ 152400 w 152400"/>
                  <a:gd name="connsiteY4" fmla="*/ 209550 h 349250"/>
                  <a:gd name="connsiteX5" fmla="*/ 38100 w 152400"/>
                  <a:gd name="connsiteY5" fmla="*/ 285750 h 349250"/>
                  <a:gd name="connsiteX6" fmla="*/ 38100 w 152400"/>
                  <a:gd name="connsiteY6" fmla="*/ 101600 h 349250"/>
                  <a:gd name="connsiteX7" fmla="*/ 107950 w 152400"/>
                  <a:gd name="connsiteY7" fmla="*/ 69850 h 349250"/>
                  <a:gd name="connsiteX8" fmla="*/ 107950 w 152400"/>
                  <a:gd name="connsiteY8" fmla="*/ 0 h 349250"/>
                  <a:gd name="connsiteX0" fmla="*/ 107950 w 146050"/>
                  <a:gd name="connsiteY0" fmla="*/ 0 h 349250"/>
                  <a:gd name="connsiteX1" fmla="*/ 0 w 146050"/>
                  <a:gd name="connsiteY1" fmla="*/ 50800 h 349250"/>
                  <a:gd name="connsiteX2" fmla="*/ 0 w 146050"/>
                  <a:gd name="connsiteY2" fmla="*/ 349250 h 349250"/>
                  <a:gd name="connsiteX3" fmla="*/ 146050 w 146050"/>
                  <a:gd name="connsiteY3" fmla="*/ 266700 h 349250"/>
                  <a:gd name="connsiteX4" fmla="*/ 123825 w 146050"/>
                  <a:gd name="connsiteY4" fmla="*/ 230981 h 349250"/>
                  <a:gd name="connsiteX5" fmla="*/ 38100 w 146050"/>
                  <a:gd name="connsiteY5" fmla="*/ 285750 h 349250"/>
                  <a:gd name="connsiteX6" fmla="*/ 38100 w 146050"/>
                  <a:gd name="connsiteY6" fmla="*/ 101600 h 349250"/>
                  <a:gd name="connsiteX7" fmla="*/ 107950 w 146050"/>
                  <a:gd name="connsiteY7" fmla="*/ 69850 h 349250"/>
                  <a:gd name="connsiteX8" fmla="*/ 107950 w 146050"/>
                  <a:gd name="connsiteY8" fmla="*/ 0 h 349250"/>
                  <a:gd name="connsiteX0" fmla="*/ 107950 w 124619"/>
                  <a:gd name="connsiteY0" fmla="*/ 0 h 349250"/>
                  <a:gd name="connsiteX1" fmla="*/ 0 w 124619"/>
                  <a:gd name="connsiteY1" fmla="*/ 50800 h 349250"/>
                  <a:gd name="connsiteX2" fmla="*/ 0 w 124619"/>
                  <a:gd name="connsiteY2" fmla="*/ 349250 h 349250"/>
                  <a:gd name="connsiteX3" fmla="*/ 124619 w 124619"/>
                  <a:gd name="connsiteY3" fmla="*/ 288131 h 349250"/>
                  <a:gd name="connsiteX4" fmla="*/ 123825 w 124619"/>
                  <a:gd name="connsiteY4" fmla="*/ 230981 h 349250"/>
                  <a:gd name="connsiteX5" fmla="*/ 38100 w 124619"/>
                  <a:gd name="connsiteY5" fmla="*/ 285750 h 349250"/>
                  <a:gd name="connsiteX6" fmla="*/ 38100 w 124619"/>
                  <a:gd name="connsiteY6" fmla="*/ 101600 h 349250"/>
                  <a:gd name="connsiteX7" fmla="*/ 107950 w 124619"/>
                  <a:gd name="connsiteY7" fmla="*/ 69850 h 349250"/>
                  <a:gd name="connsiteX8" fmla="*/ 107950 w 124619"/>
                  <a:gd name="connsiteY8" fmla="*/ 0 h 349250"/>
                  <a:gd name="connsiteX0" fmla="*/ 107950 w 124619"/>
                  <a:gd name="connsiteY0" fmla="*/ 0 h 349250"/>
                  <a:gd name="connsiteX1" fmla="*/ 0 w 124619"/>
                  <a:gd name="connsiteY1" fmla="*/ 50800 h 349250"/>
                  <a:gd name="connsiteX2" fmla="*/ 0 w 124619"/>
                  <a:gd name="connsiteY2" fmla="*/ 349250 h 349250"/>
                  <a:gd name="connsiteX3" fmla="*/ 124619 w 124619"/>
                  <a:gd name="connsiteY3" fmla="*/ 278606 h 349250"/>
                  <a:gd name="connsiteX4" fmla="*/ 123825 w 124619"/>
                  <a:gd name="connsiteY4" fmla="*/ 230981 h 349250"/>
                  <a:gd name="connsiteX5" fmla="*/ 38100 w 124619"/>
                  <a:gd name="connsiteY5" fmla="*/ 285750 h 349250"/>
                  <a:gd name="connsiteX6" fmla="*/ 38100 w 124619"/>
                  <a:gd name="connsiteY6" fmla="*/ 101600 h 349250"/>
                  <a:gd name="connsiteX7" fmla="*/ 107950 w 124619"/>
                  <a:gd name="connsiteY7" fmla="*/ 69850 h 349250"/>
                  <a:gd name="connsiteX8" fmla="*/ 107950 w 124619"/>
                  <a:gd name="connsiteY8" fmla="*/ 0 h 349250"/>
                  <a:gd name="connsiteX0" fmla="*/ 107950 w 124619"/>
                  <a:gd name="connsiteY0" fmla="*/ 1577 h 350827"/>
                  <a:gd name="connsiteX1" fmla="*/ 0 w 124619"/>
                  <a:gd name="connsiteY1" fmla="*/ 52377 h 350827"/>
                  <a:gd name="connsiteX2" fmla="*/ 0 w 124619"/>
                  <a:gd name="connsiteY2" fmla="*/ 350827 h 350827"/>
                  <a:gd name="connsiteX3" fmla="*/ 124619 w 124619"/>
                  <a:gd name="connsiteY3" fmla="*/ 280183 h 350827"/>
                  <a:gd name="connsiteX4" fmla="*/ 123825 w 124619"/>
                  <a:gd name="connsiteY4" fmla="*/ 232558 h 350827"/>
                  <a:gd name="connsiteX5" fmla="*/ 38100 w 124619"/>
                  <a:gd name="connsiteY5" fmla="*/ 287327 h 350827"/>
                  <a:gd name="connsiteX6" fmla="*/ 38100 w 124619"/>
                  <a:gd name="connsiteY6" fmla="*/ 103177 h 350827"/>
                  <a:gd name="connsiteX7" fmla="*/ 107950 w 124619"/>
                  <a:gd name="connsiteY7" fmla="*/ 71427 h 350827"/>
                  <a:gd name="connsiteX8" fmla="*/ 107950 w 124619"/>
                  <a:gd name="connsiteY8" fmla="*/ 1577 h 350827"/>
                  <a:gd name="connsiteX0" fmla="*/ 107950 w 127415"/>
                  <a:gd name="connsiteY0" fmla="*/ 1450 h 350700"/>
                  <a:gd name="connsiteX1" fmla="*/ 0 w 127415"/>
                  <a:gd name="connsiteY1" fmla="*/ 52250 h 350700"/>
                  <a:gd name="connsiteX2" fmla="*/ 0 w 127415"/>
                  <a:gd name="connsiteY2" fmla="*/ 350700 h 350700"/>
                  <a:gd name="connsiteX3" fmla="*/ 124619 w 127415"/>
                  <a:gd name="connsiteY3" fmla="*/ 280056 h 350700"/>
                  <a:gd name="connsiteX4" fmla="*/ 123825 w 127415"/>
                  <a:gd name="connsiteY4" fmla="*/ 232431 h 350700"/>
                  <a:gd name="connsiteX5" fmla="*/ 38100 w 127415"/>
                  <a:gd name="connsiteY5" fmla="*/ 287200 h 350700"/>
                  <a:gd name="connsiteX6" fmla="*/ 38100 w 127415"/>
                  <a:gd name="connsiteY6" fmla="*/ 103050 h 350700"/>
                  <a:gd name="connsiteX7" fmla="*/ 107950 w 127415"/>
                  <a:gd name="connsiteY7" fmla="*/ 71300 h 350700"/>
                  <a:gd name="connsiteX8" fmla="*/ 107950 w 127415"/>
                  <a:gd name="connsiteY8" fmla="*/ 1450 h 350700"/>
                  <a:gd name="connsiteX0" fmla="*/ 107950 w 135126"/>
                  <a:gd name="connsiteY0" fmla="*/ 1450 h 350700"/>
                  <a:gd name="connsiteX1" fmla="*/ 0 w 135126"/>
                  <a:gd name="connsiteY1" fmla="*/ 52250 h 350700"/>
                  <a:gd name="connsiteX2" fmla="*/ 0 w 135126"/>
                  <a:gd name="connsiteY2" fmla="*/ 350700 h 350700"/>
                  <a:gd name="connsiteX3" fmla="*/ 124619 w 135126"/>
                  <a:gd name="connsiteY3" fmla="*/ 280056 h 350700"/>
                  <a:gd name="connsiteX4" fmla="*/ 123825 w 135126"/>
                  <a:gd name="connsiteY4" fmla="*/ 232431 h 350700"/>
                  <a:gd name="connsiteX5" fmla="*/ 38100 w 135126"/>
                  <a:gd name="connsiteY5" fmla="*/ 287200 h 350700"/>
                  <a:gd name="connsiteX6" fmla="*/ 38100 w 135126"/>
                  <a:gd name="connsiteY6" fmla="*/ 103050 h 350700"/>
                  <a:gd name="connsiteX7" fmla="*/ 107950 w 135126"/>
                  <a:gd name="connsiteY7" fmla="*/ 71300 h 350700"/>
                  <a:gd name="connsiteX8" fmla="*/ 107950 w 135126"/>
                  <a:gd name="connsiteY8" fmla="*/ 1450 h 350700"/>
                  <a:gd name="connsiteX0" fmla="*/ 107950 w 150337"/>
                  <a:gd name="connsiteY0" fmla="*/ 1450 h 350700"/>
                  <a:gd name="connsiteX1" fmla="*/ 0 w 150337"/>
                  <a:gd name="connsiteY1" fmla="*/ 52250 h 350700"/>
                  <a:gd name="connsiteX2" fmla="*/ 0 w 150337"/>
                  <a:gd name="connsiteY2" fmla="*/ 350700 h 350700"/>
                  <a:gd name="connsiteX3" fmla="*/ 124619 w 150337"/>
                  <a:gd name="connsiteY3" fmla="*/ 280056 h 350700"/>
                  <a:gd name="connsiteX4" fmla="*/ 123825 w 150337"/>
                  <a:gd name="connsiteY4" fmla="*/ 232431 h 350700"/>
                  <a:gd name="connsiteX5" fmla="*/ 38100 w 150337"/>
                  <a:gd name="connsiteY5" fmla="*/ 287200 h 350700"/>
                  <a:gd name="connsiteX6" fmla="*/ 38100 w 150337"/>
                  <a:gd name="connsiteY6" fmla="*/ 103050 h 350700"/>
                  <a:gd name="connsiteX7" fmla="*/ 107950 w 150337"/>
                  <a:gd name="connsiteY7" fmla="*/ 71300 h 350700"/>
                  <a:gd name="connsiteX8" fmla="*/ 107950 w 150337"/>
                  <a:gd name="connsiteY8" fmla="*/ 1450 h 350700"/>
                  <a:gd name="connsiteX0" fmla="*/ 101218 w 150337"/>
                  <a:gd name="connsiteY0" fmla="*/ 1994 h 331047"/>
                  <a:gd name="connsiteX1" fmla="*/ 0 w 150337"/>
                  <a:gd name="connsiteY1" fmla="*/ 32597 h 331047"/>
                  <a:gd name="connsiteX2" fmla="*/ 0 w 150337"/>
                  <a:gd name="connsiteY2" fmla="*/ 331047 h 331047"/>
                  <a:gd name="connsiteX3" fmla="*/ 124619 w 150337"/>
                  <a:gd name="connsiteY3" fmla="*/ 260403 h 331047"/>
                  <a:gd name="connsiteX4" fmla="*/ 123825 w 150337"/>
                  <a:gd name="connsiteY4" fmla="*/ 212778 h 331047"/>
                  <a:gd name="connsiteX5" fmla="*/ 38100 w 150337"/>
                  <a:gd name="connsiteY5" fmla="*/ 267547 h 331047"/>
                  <a:gd name="connsiteX6" fmla="*/ 38100 w 150337"/>
                  <a:gd name="connsiteY6" fmla="*/ 83397 h 331047"/>
                  <a:gd name="connsiteX7" fmla="*/ 107950 w 150337"/>
                  <a:gd name="connsiteY7" fmla="*/ 51647 h 331047"/>
                  <a:gd name="connsiteX8" fmla="*/ 101218 w 150337"/>
                  <a:gd name="connsiteY8" fmla="*/ 1994 h 331047"/>
                  <a:gd name="connsiteX0" fmla="*/ 101218 w 150337"/>
                  <a:gd name="connsiteY0" fmla="*/ 1994 h 331047"/>
                  <a:gd name="connsiteX1" fmla="*/ 11220 w 150337"/>
                  <a:gd name="connsiteY1" fmla="*/ 41573 h 331047"/>
                  <a:gd name="connsiteX2" fmla="*/ 0 w 150337"/>
                  <a:gd name="connsiteY2" fmla="*/ 331047 h 331047"/>
                  <a:gd name="connsiteX3" fmla="*/ 124619 w 150337"/>
                  <a:gd name="connsiteY3" fmla="*/ 260403 h 331047"/>
                  <a:gd name="connsiteX4" fmla="*/ 123825 w 150337"/>
                  <a:gd name="connsiteY4" fmla="*/ 212778 h 331047"/>
                  <a:gd name="connsiteX5" fmla="*/ 38100 w 150337"/>
                  <a:gd name="connsiteY5" fmla="*/ 267547 h 331047"/>
                  <a:gd name="connsiteX6" fmla="*/ 38100 w 150337"/>
                  <a:gd name="connsiteY6" fmla="*/ 83397 h 331047"/>
                  <a:gd name="connsiteX7" fmla="*/ 107950 w 150337"/>
                  <a:gd name="connsiteY7" fmla="*/ 51647 h 331047"/>
                  <a:gd name="connsiteX8" fmla="*/ 101218 w 150337"/>
                  <a:gd name="connsiteY8" fmla="*/ 1994 h 331047"/>
                  <a:gd name="connsiteX0" fmla="*/ 94487 w 143606"/>
                  <a:gd name="connsiteY0" fmla="*/ 1994 h 308607"/>
                  <a:gd name="connsiteX1" fmla="*/ 4489 w 143606"/>
                  <a:gd name="connsiteY1" fmla="*/ 41573 h 308607"/>
                  <a:gd name="connsiteX2" fmla="*/ 0 w 143606"/>
                  <a:gd name="connsiteY2" fmla="*/ 308607 h 308607"/>
                  <a:gd name="connsiteX3" fmla="*/ 117888 w 143606"/>
                  <a:gd name="connsiteY3" fmla="*/ 260403 h 308607"/>
                  <a:gd name="connsiteX4" fmla="*/ 117094 w 143606"/>
                  <a:gd name="connsiteY4" fmla="*/ 212778 h 308607"/>
                  <a:gd name="connsiteX5" fmla="*/ 31369 w 143606"/>
                  <a:gd name="connsiteY5" fmla="*/ 267547 h 308607"/>
                  <a:gd name="connsiteX6" fmla="*/ 31369 w 143606"/>
                  <a:gd name="connsiteY6" fmla="*/ 83397 h 308607"/>
                  <a:gd name="connsiteX7" fmla="*/ 101219 w 143606"/>
                  <a:gd name="connsiteY7" fmla="*/ 51647 h 308607"/>
                  <a:gd name="connsiteX8" fmla="*/ 94487 w 143606"/>
                  <a:gd name="connsiteY8" fmla="*/ 1994 h 308607"/>
                  <a:gd name="connsiteX0" fmla="*/ 94487 w 143606"/>
                  <a:gd name="connsiteY0" fmla="*/ 1994 h 308607"/>
                  <a:gd name="connsiteX1" fmla="*/ 4489 w 143606"/>
                  <a:gd name="connsiteY1" fmla="*/ 41573 h 308607"/>
                  <a:gd name="connsiteX2" fmla="*/ 0 w 143606"/>
                  <a:gd name="connsiteY2" fmla="*/ 308607 h 308607"/>
                  <a:gd name="connsiteX3" fmla="*/ 117888 w 143606"/>
                  <a:gd name="connsiteY3" fmla="*/ 260403 h 308607"/>
                  <a:gd name="connsiteX4" fmla="*/ 117094 w 143606"/>
                  <a:gd name="connsiteY4" fmla="*/ 212778 h 308607"/>
                  <a:gd name="connsiteX5" fmla="*/ 24637 w 143606"/>
                  <a:gd name="connsiteY5" fmla="*/ 281012 h 308607"/>
                  <a:gd name="connsiteX6" fmla="*/ 31369 w 143606"/>
                  <a:gd name="connsiteY6" fmla="*/ 83397 h 308607"/>
                  <a:gd name="connsiteX7" fmla="*/ 101219 w 143606"/>
                  <a:gd name="connsiteY7" fmla="*/ 51647 h 308607"/>
                  <a:gd name="connsiteX8" fmla="*/ 94487 w 143606"/>
                  <a:gd name="connsiteY8" fmla="*/ 1994 h 308607"/>
                  <a:gd name="connsiteX0" fmla="*/ 94487 w 143606"/>
                  <a:gd name="connsiteY0" fmla="*/ 1994 h 308607"/>
                  <a:gd name="connsiteX1" fmla="*/ 4489 w 143606"/>
                  <a:gd name="connsiteY1" fmla="*/ 41573 h 308607"/>
                  <a:gd name="connsiteX2" fmla="*/ 0 w 143606"/>
                  <a:gd name="connsiteY2" fmla="*/ 308607 h 308607"/>
                  <a:gd name="connsiteX3" fmla="*/ 117888 w 143606"/>
                  <a:gd name="connsiteY3" fmla="*/ 260403 h 308607"/>
                  <a:gd name="connsiteX4" fmla="*/ 117094 w 143606"/>
                  <a:gd name="connsiteY4" fmla="*/ 226243 h 308607"/>
                  <a:gd name="connsiteX5" fmla="*/ 24637 w 143606"/>
                  <a:gd name="connsiteY5" fmla="*/ 281012 h 308607"/>
                  <a:gd name="connsiteX6" fmla="*/ 31369 w 143606"/>
                  <a:gd name="connsiteY6" fmla="*/ 83397 h 308607"/>
                  <a:gd name="connsiteX7" fmla="*/ 101219 w 143606"/>
                  <a:gd name="connsiteY7" fmla="*/ 51647 h 308607"/>
                  <a:gd name="connsiteX8" fmla="*/ 94487 w 143606"/>
                  <a:gd name="connsiteY8" fmla="*/ 1994 h 308607"/>
                  <a:gd name="connsiteX0" fmla="*/ 94487 w 142280"/>
                  <a:gd name="connsiteY0" fmla="*/ 1994 h 308607"/>
                  <a:gd name="connsiteX1" fmla="*/ 4489 w 142280"/>
                  <a:gd name="connsiteY1" fmla="*/ 41573 h 308607"/>
                  <a:gd name="connsiteX2" fmla="*/ 0 w 142280"/>
                  <a:gd name="connsiteY2" fmla="*/ 308607 h 308607"/>
                  <a:gd name="connsiteX3" fmla="*/ 115643 w 142280"/>
                  <a:gd name="connsiteY3" fmla="*/ 249183 h 308607"/>
                  <a:gd name="connsiteX4" fmla="*/ 117094 w 142280"/>
                  <a:gd name="connsiteY4" fmla="*/ 226243 h 308607"/>
                  <a:gd name="connsiteX5" fmla="*/ 24637 w 142280"/>
                  <a:gd name="connsiteY5" fmla="*/ 281012 h 308607"/>
                  <a:gd name="connsiteX6" fmla="*/ 31369 w 142280"/>
                  <a:gd name="connsiteY6" fmla="*/ 83397 h 308607"/>
                  <a:gd name="connsiteX7" fmla="*/ 101219 w 142280"/>
                  <a:gd name="connsiteY7" fmla="*/ 51647 h 308607"/>
                  <a:gd name="connsiteX8" fmla="*/ 94487 w 142280"/>
                  <a:gd name="connsiteY8" fmla="*/ 1994 h 308607"/>
                  <a:gd name="connsiteX0" fmla="*/ 94487 w 142280"/>
                  <a:gd name="connsiteY0" fmla="*/ 2800 h 309413"/>
                  <a:gd name="connsiteX1" fmla="*/ 4489 w 142280"/>
                  <a:gd name="connsiteY1" fmla="*/ 42379 h 309413"/>
                  <a:gd name="connsiteX2" fmla="*/ 0 w 142280"/>
                  <a:gd name="connsiteY2" fmla="*/ 309413 h 309413"/>
                  <a:gd name="connsiteX3" fmla="*/ 115643 w 142280"/>
                  <a:gd name="connsiteY3" fmla="*/ 249989 h 309413"/>
                  <a:gd name="connsiteX4" fmla="*/ 117094 w 142280"/>
                  <a:gd name="connsiteY4" fmla="*/ 227049 h 309413"/>
                  <a:gd name="connsiteX5" fmla="*/ 24637 w 142280"/>
                  <a:gd name="connsiteY5" fmla="*/ 281818 h 309413"/>
                  <a:gd name="connsiteX6" fmla="*/ 31369 w 142280"/>
                  <a:gd name="connsiteY6" fmla="*/ 84203 h 309413"/>
                  <a:gd name="connsiteX7" fmla="*/ 96732 w 142280"/>
                  <a:gd name="connsiteY7" fmla="*/ 36746 h 309413"/>
                  <a:gd name="connsiteX8" fmla="*/ 94487 w 142280"/>
                  <a:gd name="connsiteY8" fmla="*/ 2800 h 309413"/>
                  <a:gd name="connsiteX0" fmla="*/ 94487 w 142280"/>
                  <a:gd name="connsiteY0" fmla="*/ 2800 h 309413"/>
                  <a:gd name="connsiteX1" fmla="*/ 4489 w 142280"/>
                  <a:gd name="connsiteY1" fmla="*/ 42379 h 309413"/>
                  <a:gd name="connsiteX2" fmla="*/ 0 w 142280"/>
                  <a:gd name="connsiteY2" fmla="*/ 309413 h 309413"/>
                  <a:gd name="connsiteX3" fmla="*/ 115643 w 142280"/>
                  <a:gd name="connsiteY3" fmla="*/ 249989 h 309413"/>
                  <a:gd name="connsiteX4" fmla="*/ 117094 w 142280"/>
                  <a:gd name="connsiteY4" fmla="*/ 227049 h 309413"/>
                  <a:gd name="connsiteX5" fmla="*/ 24637 w 142280"/>
                  <a:gd name="connsiteY5" fmla="*/ 281818 h 309413"/>
                  <a:gd name="connsiteX6" fmla="*/ 24638 w 142280"/>
                  <a:gd name="connsiteY6" fmla="*/ 68495 h 309413"/>
                  <a:gd name="connsiteX7" fmla="*/ 96732 w 142280"/>
                  <a:gd name="connsiteY7" fmla="*/ 36746 h 309413"/>
                  <a:gd name="connsiteX8" fmla="*/ 94487 w 142280"/>
                  <a:gd name="connsiteY8" fmla="*/ 2800 h 309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280" h="309413">
                    <a:moveTo>
                      <a:pt x="94487" y="2800"/>
                    </a:moveTo>
                    <a:lnTo>
                      <a:pt x="4489" y="42379"/>
                    </a:lnTo>
                    <a:cubicBezTo>
                      <a:pt x="2993" y="131390"/>
                      <a:pt x="1496" y="220402"/>
                      <a:pt x="0" y="309413"/>
                    </a:cubicBezTo>
                    <a:lnTo>
                      <a:pt x="115643" y="249989"/>
                    </a:lnTo>
                    <a:cubicBezTo>
                      <a:pt x="158826" y="224732"/>
                      <a:pt x="142186" y="208857"/>
                      <a:pt x="117094" y="227049"/>
                    </a:cubicBezTo>
                    <a:lnTo>
                      <a:pt x="24637" y="281818"/>
                    </a:lnTo>
                    <a:cubicBezTo>
                      <a:pt x="24637" y="210710"/>
                      <a:pt x="24638" y="139603"/>
                      <a:pt x="24638" y="68495"/>
                    </a:cubicBezTo>
                    <a:lnTo>
                      <a:pt x="96732" y="36746"/>
                    </a:lnTo>
                    <a:cubicBezTo>
                      <a:pt x="125698" y="19670"/>
                      <a:pt x="117245" y="-9089"/>
                      <a:pt x="94487" y="2800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45"/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3" name="Freeform 102"/>
              <p:cNvSpPr/>
              <p:nvPr/>
            </p:nvSpPr>
            <p:spPr>
              <a:xfrm>
                <a:off x="10175871" y="1160342"/>
                <a:ext cx="81154" cy="130136"/>
              </a:xfrm>
              <a:custGeom>
                <a:avLst/>
                <a:gdLst>
                  <a:gd name="connsiteX0" fmla="*/ 107950 w 152400"/>
                  <a:gd name="connsiteY0" fmla="*/ 0 h 349250"/>
                  <a:gd name="connsiteX1" fmla="*/ 0 w 152400"/>
                  <a:gd name="connsiteY1" fmla="*/ 50800 h 349250"/>
                  <a:gd name="connsiteX2" fmla="*/ 0 w 152400"/>
                  <a:gd name="connsiteY2" fmla="*/ 349250 h 349250"/>
                  <a:gd name="connsiteX3" fmla="*/ 146050 w 152400"/>
                  <a:gd name="connsiteY3" fmla="*/ 266700 h 349250"/>
                  <a:gd name="connsiteX4" fmla="*/ 152400 w 152400"/>
                  <a:gd name="connsiteY4" fmla="*/ 209550 h 349250"/>
                  <a:gd name="connsiteX5" fmla="*/ 38100 w 152400"/>
                  <a:gd name="connsiteY5" fmla="*/ 285750 h 349250"/>
                  <a:gd name="connsiteX6" fmla="*/ 38100 w 152400"/>
                  <a:gd name="connsiteY6" fmla="*/ 101600 h 349250"/>
                  <a:gd name="connsiteX7" fmla="*/ 107950 w 152400"/>
                  <a:gd name="connsiteY7" fmla="*/ 69850 h 349250"/>
                  <a:gd name="connsiteX8" fmla="*/ 107950 w 152400"/>
                  <a:gd name="connsiteY8" fmla="*/ 0 h 349250"/>
                  <a:gd name="connsiteX0" fmla="*/ 107950 w 146050"/>
                  <a:gd name="connsiteY0" fmla="*/ 0 h 349250"/>
                  <a:gd name="connsiteX1" fmla="*/ 0 w 146050"/>
                  <a:gd name="connsiteY1" fmla="*/ 50800 h 349250"/>
                  <a:gd name="connsiteX2" fmla="*/ 0 w 146050"/>
                  <a:gd name="connsiteY2" fmla="*/ 349250 h 349250"/>
                  <a:gd name="connsiteX3" fmla="*/ 146050 w 146050"/>
                  <a:gd name="connsiteY3" fmla="*/ 266700 h 349250"/>
                  <a:gd name="connsiteX4" fmla="*/ 123825 w 146050"/>
                  <a:gd name="connsiteY4" fmla="*/ 230981 h 349250"/>
                  <a:gd name="connsiteX5" fmla="*/ 38100 w 146050"/>
                  <a:gd name="connsiteY5" fmla="*/ 285750 h 349250"/>
                  <a:gd name="connsiteX6" fmla="*/ 38100 w 146050"/>
                  <a:gd name="connsiteY6" fmla="*/ 101600 h 349250"/>
                  <a:gd name="connsiteX7" fmla="*/ 107950 w 146050"/>
                  <a:gd name="connsiteY7" fmla="*/ 69850 h 349250"/>
                  <a:gd name="connsiteX8" fmla="*/ 107950 w 146050"/>
                  <a:gd name="connsiteY8" fmla="*/ 0 h 349250"/>
                  <a:gd name="connsiteX0" fmla="*/ 107950 w 124619"/>
                  <a:gd name="connsiteY0" fmla="*/ 0 h 349250"/>
                  <a:gd name="connsiteX1" fmla="*/ 0 w 124619"/>
                  <a:gd name="connsiteY1" fmla="*/ 50800 h 349250"/>
                  <a:gd name="connsiteX2" fmla="*/ 0 w 124619"/>
                  <a:gd name="connsiteY2" fmla="*/ 349250 h 349250"/>
                  <a:gd name="connsiteX3" fmla="*/ 124619 w 124619"/>
                  <a:gd name="connsiteY3" fmla="*/ 288131 h 349250"/>
                  <a:gd name="connsiteX4" fmla="*/ 123825 w 124619"/>
                  <a:gd name="connsiteY4" fmla="*/ 230981 h 349250"/>
                  <a:gd name="connsiteX5" fmla="*/ 38100 w 124619"/>
                  <a:gd name="connsiteY5" fmla="*/ 285750 h 349250"/>
                  <a:gd name="connsiteX6" fmla="*/ 38100 w 124619"/>
                  <a:gd name="connsiteY6" fmla="*/ 101600 h 349250"/>
                  <a:gd name="connsiteX7" fmla="*/ 107950 w 124619"/>
                  <a:gd name="connsiteY7" fmla="*/ 69850 h 349250"/>
                  <a:gd name="connsiteX8" fmla="*/ 107950 w 124619"/>
                  <a:gd name="connsiteY8" fmla="*/ 0 h 349250"/>
                  <a:gd name="connsiteX0" fmla="*/ 107950 w 124619"/>
                  <a:gd name="connsiteY0" fmla="*/ 0 h 349250"/>
                  <a:gd name="connsiteX1" fmla="*/ 0 w 124619"/>
                  <a:gd name="connsiteY1" fmla="*/ 50800 h 349250"/>
                  <a:gd name="connsiteX2" fmla="*/ 0 w 124619"/>
                  <a:gd name="connsiteY2" fmla="*/ 349250 h 349250"/>
                  <a:gd name="connsiteX3" fmla="*/ 124619 w 124619"/>
                  <a:gd name="connsiteY3" fmla="*/ 278606 h 349250"/>
                  <a:gd name="connsiteX4" fmla="*/ 123825 w 124619"/>
                  <a:gd name="connsiteY4" fmla="*/ 230981 h 349250"/>
                  <a:gd name="connsiteX5" fmla="*/ 38100 w 124619"/>
                  <a:gd name="connsiteY5" fmla="*/ 285750 h 349250"/>
                  <a:gd name="connsiteX6" fmla="*/ 38100 w 124619"/>
                  <a:gd name="connsiteY6" fmla="*/ 101600 h 349250"/>
                  <a:gd name="connsiteX7" fmla="*/ 107950 w 124619"/>
                  <a:gd name="connsiteY7" fmla="*/ 69850 h 349250"/>
                  <a:gd name="connsiteX8" fmla="*/ 107950 w 124619"/>
                  <a:gd name="connsiteY8" fmla="*/ 0 h 349250"/>
                  <a:gd name="connsiteX0" fmla="*/ 107950 w 124619"/>
                  <a:gd name="connsiteY0" fmla="*/ 1577 h 350827"/>
                  <a:gd name="connsiteX1" fmla="*/ 0 w 124619"/>
                  <a:gd name="connsiteY1" fmla="*/ 52377 h 350827"/>
                  <a:gd name="connsiteX2" fmla="*/ 0 w 124619"/>
                  <a:gd name="connsiteY2" fmla="*/ 350827 h 350827"/>
                  <a:gd name="connsiteX3" fmla="*/ 124619 w 124619"/>
                  <a:gd name="connsiteY3" fmla="*/ 280183 h 350827"/>
                  <a:gd name="connsiteX4" fmla="*/ 123825 w 124619"/>
                  <a:gd name="connsiteY4" fmla="*/ 232558 h 350827"/>
                  <a:gd name="connsiteX5" fmla="*/ 38100 w 124619"/>
                  <a:gd name="connsiteY5" fmla="*/ 287327 h 350827"/>
                  <a:gd name="connsiteX6" fmla="*/ 38100 w 124619"/>
                  <a:gd name="connsiteY6" fmla="*/ 103177 h 350827"/>
                  <a:gd name="connsiteX7" fmla="*/ 107950 w 124619"/>
                  <a:gd name="connsiteY7" fmla="*/ 71427 h 350827"/>
                  <a:gd name="connsiteX8" fmla="*/ 107950 w 124619"/>
                  <a:gd name="connsiteY8" fmla="*/ 1577 h 350827"/>
                  <a:gd name="connsiteX0" fmla="*/ 107950 w 127415"/>
                  <a:gd name="connsiteY0" fmla="*/ 1450 h 350700"/>
                  <a:gd name="connsiteX1" fmla="*/ 0 w 127415"/>
                  <a:gd name="connsiteY1" fmla="*/ 52250 h 350700"/>
                  <a:gd name="connsiteX2" fmla="*/ 0 w 127415"/>
                  <a:gd name="connsiteY2" fmla="*/ 350700 h 350700"/>
                  <a:gd name="connsiteX3" fmla="*/ 124619 w 127415"/>
                  <a:gd name="connsiteY3" fmla="*/ 280056 h 350700"/>
                  <a:gd name="connsiteX4" fmla="*/ 123825 w 127415"/>
                  <a:gd name="connsiteY4" fmla="*/ 232431 h 350700"/>
                  <a:gd name="connsiteX5" fmla="*/ 38100 w 127415"/>
                  <a:gd name="connsiteY5" fmla="*/ 287200 h 350700"/>
                  <a:gd name="connsiteX6" fmla="*/ 38100 w 127415"/>
                  <a:gd name="connsiteY6" fmla="*/ 103050 h 350700"/>
                  <a:gd name="connsiteX7" fmla="*/ 107950 w 127415"/>
                  <a:gd name="connsiteY7" fmla="*/ 71300 h 350700"/>
                  <a:gd name="connsiteX8" fmla="*/ 107950 w 127415"/>
                  <a:gd name="connsiteY8" fmla="*/ 1450 h 350700"/>
                  <a:gd name="connsiteX0" fmla="*/ 107950 w 135126"/>
                  <a:gd name="connsiteY0" fmla="*/ 1450 h 350700"/>
                  <a:gd name="connsiteX1" fmla="*/ 0 w 135126"/>
                  <a:gd name="connsiteY1" fmla="*/ 52250 h 350700"/>
                  <a:gd name="connsiteX2" fmla="*/ 0 w 135126"/>
                  <a:gd name="connsiteY2" fmla="*/ 350700 h 350700"/>
                  <a:gd name="connsiteX3" fmla="*/ 124619 w 135126"/>
                  <a:gd name="connsiteY3" fmla="*/ 280056 h 350700"/>
                  <a:gd name="connsiteX4" fmla="*/ 123825 w 135126"/>
                  <a:gd name="connsiteY4" fmla="*/ 232431 h 350700"/>
                  <a:gd name="connsiteX5" fmla="*/ 38100 w 135126"/>
                  <a:gd name="connsiteY5" fmla="*/ 287200 h 350700"/>
                  <a:gd name="connsiteX6" fmla="*/ 38100 w 135126"/>
                  <a:gd name="connsiteY6" fmla="*/ 103050 h 350700"/>
                  <a:gd name="connsiteX7" fmla="*/ 107950 w 135126"/>
                  <a:gd name="connsiteY7" fmla="*/ 71300 h 350700"/>
                  <a:gd name="connsiteX8" fmla="*/ 107950 w 135126"/>
                  <a:gd name="connsiteY8" fmla="*/ 1450 h 350700"/>
                  <a:gd name="connsiteX0" fmla="*/ 107950 w 150337"/>
                  <a:gd name="connsiteY0" fmla="*/ 1450 h 350700"/>
                  <a:gd name="connsiteX1" fmla="*/ 0 w 150337"/>
                  <a:gd name="connsiteY1" fmla="*/ 52250 h 350700"/>
                  <a:gd name="connsiteX2" fmla="*/ 0 w 150337"/>
                  <a:gd name="connsiteY2" fmla="*/ 350700 h 350700"/>
                  <a:gd name="connsiteX3" fmla="*/ 124619 w 150337"/>
                  <a:gd name="connsiteY3" fmla="*/ 280056 h 350700"/>
                  <a:gd name="connsiteX4" fmla="*/ 123825 w 150337"/>
                  <a:gd name="connsiteY4" fmla="*/ 232431 h 350700"/>
                  <a:gd name="connsiteX5" fmla="*/ 38100 w 150337"/>
                  <a:gd name="connsiteY5" fmla="*/ 287200 h 350700"/>
                  <a:gd name="connsiteX6" fmla="*/ 38100 w 150337"/>
                  <a:gd name="connsiteY6" fmla="*/ 103050 h 350700"/>
                  <a:gd name="connsiteX7" fmla="*/ 107950 w 150337"/>
                  <a:gd name="connsiteY7" fmla="*/ 71300 h 350700"/>
                  <a:gd name="connsiteX8" fmla="*/ 107950 w 150337"/>
                  <a:gd name="connsiteY8" fmla="*/ 1450 h 350700"/>
                  <a:gd name="connsiteX0" fmla="*/ 101218 w 150337"/>
                  <a:gd name="connsiteY0" fmla="*/ 1994 h 331047"/>
                  <a:gd name="connsiteX1" fmla="*/ 0 w 150337"/>
                  <a:gd name="connsiteY1" fmla="*/ 32597 h 331047"/>
                  <a:gd name="connsiteX2" fmla="*/ 0 w 150337"/>
                  <a:gd name="connsiteY2" fmla="*/ 331047 h 331047"/>
                  <a:gd name="connsiteX3" fmla="*/ 124619 w 150337"/>
                  <a:gd name="connsiteY3" fmla="*/ 260403 h 331047"/>
                  <a:gd name="connsiteX4" fmla="*/ 123825 w 150337"/>
                  <a:gd name="connsiteY4" fmla="*/ 212778 h 331047"/>
                  <a:gd name="connsiteX5" fmla="*/ 38100 w 150337"/>
                  <a:gd name="connsiteY5" fmla="*/ 267547 h 331047"/>
                  <a:gd name="connsiteX6" fmla="*/ 38100 w 150337"/>
                  <a:gd name="connsiteY6" fmla="*/ 83397 h 331047"/>
                  <a:gd name="connsiteX7" fmla="*/ 107950 w 150337"/>
                  <a:gd name="connsiteY7" fmla="*/ 51647 h 331047"/>
                  <a:gd name="connsiteX8" fmla="*/ 101218 w 150337"/>
                  <a:gd name="connsiteY8" fmla="*/ 1994 h 331047"/>
                  <a:gd name="connsiteX0" fmla="*/ 101218 w 150337"/>
                  <a:gd name="connsiteY0" fmla="*/ 1994 h 331047"/>
                  <a:gd name="connsiteX1" fmla="*/ 11220 w 150337"/>
                  <a:gd name="connsiteY1" fmla="*/ 41573 h 331047"/>
                  <a:gd name="connsiteX2" fmla="*/ 0 w 150337"/>
                  <a:gd name="connsiteY2" fmla="*/ 331047 h 331047"/>
                  <a:gd name="connsiteX3" fmla="*/ 124619 w 150337"/>
                  <a:gd name="connsiteY3" fmla="*/ 260403 h 331047"/>
                  <a:gd name="connsiteX4" fmla="*/ 123825 w 150337"/>
                  <a:gd name="connsiteY4" fmla="*/ 212778 h 331047"/>
                  <a:gd name="connsiteX5" fmla="*/ 38100 w 150337"/>
                  <a:gd name="connsiteY5" fmla="*/ 267547 h 331047"/>
                  <a:gd name="connsiteX6" fmla="*/ 38100 w 150337"/>
                  <a:gd name="connsiteY6" fmla="*/ 83397 h 331047"/>
                  <a:gd name="connsiteX7" fmla="*/ 107950 w 150337"/>
                  <a:gd name="connsiteY7" fmla="*/ 51647 h 331047"/>
                  <a:gd name="connsiteX8" fmla="*/ 101218 w 150337"/>
                  <a:gd name="connsiteY8" fmla="*/ 1994 h 331047"/>
                  <a:gd name="connsiteX0" fmla="*/ 94487 w 143606"/>
                  <a:gd name="connsiteY0" fmla="*/ 1994 h 308607"/>
                  <a:gd name="connsiteX1" fmla="*/ 4489 w 143606"/>
                  <a:gd name="connsiteY1" fmla="*/ 41573 h 308607"/>
                  <a:gd name="connsiteX2" fmla="*/ 0 w 143606"/>
                  <a:gd name="connsiteY2" fmla="*/ 308607 h 308607"/>
                  <a:gd name="connsiteX3" fmla="*/ 117888 w 143606"/>
                  <a:gd name="connsiteY3" fmla="*/ 260403 h 308607"/>
                  <a:gd name="connsiteX4" fmla="*/ 117094 w 143606"/>
                  <a:gd name="connsiteY4" fmla="*/ 212778 h 308607"/>
                  <a:gd name="connsiteX5" fmla="*/ 31369 w 143606"/>
                  <a:gd name="connsiteY5" fmla="*/ 267547 h 308607"/>
                  <a:gd name="connsiteX6" fmla="*/ 31369 w 143606"/>
                  <a:gd name="connsiteY6" fmla="*/ 83397 h 308607"/>
                  <a:gd name="connsiteX7" fmla="*/ 101219 w 143606"/>
                  <a:gd name="connsiteY7" fmla="*/ 51647 h 308607"/>
                  <a:gd name="connsiteX8" fmla="*/ 94487 w 143606"/>
                  <a:gd name="connsiteY8" fmla="*/ 1994 h 308607"/>
                  <a:gd name="connsiteX0" fmla="*/ 94487 w 143606"/>
                  <a:gd name="connsiteY0" fmla="*/ 1994 h 308607"/>
                  <a:gd name="connsiteX1" fmla="*/ 4489 w 143606"/>
                  <a:gd name="connsiteY1" fmla="*/ 41573 h 308607"/>
                  <a:gd name="connsiteX2" fmla="*/ 0 w 143606"/>
                  <a:gd name="connsiteY2" fmla="*/ 308607 h 308607"/>
                  <a:gd name="connsiteX3" fmla="*/ 117888 w 143606"/>
                  <a:gd name="connsiteY3" fmla="*/ 260403 h 308607"/>
                  <a:gd name="connsiteX4" fmla="*/ 117094 w 143606"/>
                  <a:gd name="connsiteY4" fmla="*/ 212778 h 308607"/>
                  <a:gd name="connsiteX5" fmla="*/ 24637 w 143606"/>
                  <a:gd name="connsiteY5" fmla="*/ 281012 h 308607"/>
                  <a:gd name="connsiteX6" fmla="*/ 31369 w 143606"/>
                  <a:gd name="connsiteY6" fmla="*/ 83397 h 308607"/>
                  <a:gd name="connsiteX7" fmla="*/ 101219 w 143606"/>
                  <a:gd name="connsiteY7" fmla="*/ 51647 h 308607"/>
                  <a:gd name="connsiteX8" fmla="*/ 94487 w 143606"/>
                  <a:gd name="connsiteY8" fmla="*/ 1994 h 308607"/>
                  <a:gd name="connsiteX0" fmla="*/ 94487 w 143606"/>
                  <a:gd name="connsiteY0" fmla="*/ 1994 h 308607"/>
                  <a:gd name="connsiteX1" fmla="*/ 4489 w 143606"/>
                  <a:gd name="connsiteY1" fmla="*/ 41573 h 308607"/>
                  <a:gd name="connsiteX2" fmla="*/ 0 w 143606"/>
                  <a:gd name="connsiteY2" fmla="*/ 308607 h 308607"/>
                  <a:gd name="connsiteX3" fmla="*/ 117888 w 143606"/>
                  <a:gd name="connsiteY3" fmla="*/ 260403 h 308607"/>
                  <a:gd name="connsiteX4" fmla="*/ 117094 w 143606"/>
                  <a:gd name="connsiteY4" fmla="*/ 226243 h 308607"/>
                  <a:gd name="connsiteX5" fmla="*/ 24637 w 143606"/>
                  <a:gd name="connsiteY5" fmla="*/ 281012 h 308607"/>
                  <a:gd name="connsiteX6" fmla="*/ 31369 w 143606"/>
                  <a:gd name="connsiteY6" fmla="*/ 83397 h 308607"/>
                  <a:gd name="connsiteX7" fmla="*/ 101219 w 143606"/>
                  <a:gd name="connsiteY7" fmla="*/ 51647 h 308607"/>
                  <a:gd name="connsiteX8" fmla="*/ 94487 w 143606"/>
                  <a:gd name="connsiteY8" fmla="*/ 1994 h 308607"/>
                  <a:gd name="connsiteX0" fmla="*/ 94487 w 142280"/>
                  <a:gd name="connsiteY0" fmla="*/ 1994 h 308607"/>
                  <a:gd name="connsiteX1" fmla="*/ 4489 w 142280"/>
                  <a:gd name="connsiteY1" fmla="*/ 41573 h 308607"/>
                  <a:gd name="connsiteX2" fmla="*/ 0 w 142280"/>
                  <a:gd name="connsiteY2" fmla="*/ 308607 h 308607"/>
                  <a:gd name="connsiteX3" fmla="*/ 115643 w 142280"/>
                  <a:gd name="connsiteY3" fmla="*/ 249183 h 308607"/>
                  <a:gd name="connsiteX4" fmla="*/ 117094 w 142280"/>
                  <a:gd name="connsiteY4" fmla="*/ 226243 h 308607"/>
                  <a:gd name="connsiteX5" fmla="*/ 24637 w 142280"/>
                  <a:gd name="connsiteY5" fmla="*/ 281012 h 308607"/>
                  <a:gd name="connsiteX6" fmla="*/ 31369 w 142280"/>
                  <a:gd name="connsiteY6" fmla="*/ 83397 h 308607"/>
                  <a:gd name="connsiteX7" fmla="*/ 101219 w 142280"/>
                  <a:gd name="connsiteY7" fmla="*/ 51647 h 308607"/>
                  <a:gd name="connsiteX8" fmla="*/ 94487 w 142280"/>
                  <a:gd name="connsiteY8" fmla="*/ 1994 h 308607"/>
                  <a:gd name="connsiteX0" fmla="*/ 94487 w 142280"/>
                  <a:gd name="connsiteY0" fmla="*/ 2800 h 309413"/>
                  <a:gd name="connsiteX1" fmla="*/ 4489 w 142280"/>
                  <a:gd name="connsiteY1" fmla="*/ 42379 h 309413"/>
                  <a:gd name="connsiteX2" fmla="*/ 0 w 142280"/>
                  <a:gd name="connsiteY2" fmla="*/ 309413 h 309413"/>
                  <a:gd name="connsiteX3" fmla="*/ 115643 w 142280"/>
                  <a:gd name="connsiteY3" fmla="*/ 249989 h 309413"/>
                  <a:gd name="connsiteX4" fmla="*/ 117094 w 142280"/>
                  <a:gd name="connsiteY4" fmla="*/ 227049 h 309413"/>
                  <a:gd name="connsiteX5" fmla="*/ 24637 w 142280"/>
                  <a:gd name="connsiteY5" fmla="*/ 281818 h 309413"/>
                  <a:gd name="connsiteX6" fmla="*/ 31369 w 142280"/>
                  <a:gd name="connsiteY6" fmla="*/ 84203 h 309413"/>
                  <a:gd name="connsiteX7" fmla="*/ 96732 w 142280"/>
                  <a:gd name="connsiteY7" fmla="*/ 36746 h 309413"/>
                  <a:gd name="connsiteX8" fmla="*/ 94487 w 142280"/>
                  <a:gd name="connsiteY8" fmla="*/ 2800 h 309413"/>
                  <a:gd name="connsiteX0" fmla="*/ 94487 w 142280"/>
                  <a:gd name="connsiteY0" fmla="*/ 2800 h 309413"/>
                  <a:gd name="connsiteX1" fmla="*/ 4489 w 142280"/>
                  <a:gd name="connsiteY1" fmla="*/ 42379 h 309413"/>
                  <a:gd name="connsiteX2" fmla="*/ 0 w 142280"/>
                  <a:gd name="connsiteY2" fmla="*/ 309413 h 309413"/>
                  <a:gd name="connsiteX3" fmla="*/ 115643 w 142280"/>
                  <a:gd name="connsiteY3" fmla="*/ 249989 h 309413"/>
                  <a:gd name="connsiteX4" fmla="*/ 117094 w 142280"/>
                  <a:gd name="connsiteY4" fmla="*/ 227049 h 309413"/>
                  <a:gd name="connsiteX5" fmla="*/ 24637 w 142280"/>
                  <a:gd name="connsiteY5" fmla="*/ 281818 h 309413"/>
                  <a:gd name="connsiteX6" fmla="*/ 24638 w 142280"/>
                  <a:gd name="connsiteY6" fmla="*/ 68495 h 309413"/>
                  <a:gd name="connsiteX7" fmla="*/ 96732 w 142280"/>
                  <a:gd name="connsiteY7" fmla="*/ 36746 h 309413"/>
                  <a:gd name="connsiteX8" fmla="*/ 94487 w 142280"/>
                  <a:gd name="connsiteY8" fmla="*/ 2800 h 309413"/>
                  <a:gd name="connsiteX0" fmla="*/ 98975 w 146768"/>
                  <a:gd name="connsiteY0" fmla="*/ 2800 h 322390"/>
                  <a:gd name="connsiteX1" fmla="*/ 8977 w 146768"/>
                  <a:gd name="connsiteY1" fmla="*/ 42379 h 322390"/>
                  <a:gd name="connsiteX2" fmla="*/ 0 w 146768"/>
                  <a:gd name="connsiteY2" fmla="*/ 322390 h 322390"/>
                  <a:gd name="connsiteX3" fmla="*/ 120131 w 146768"/>
                  <a:gd name="connsiteY3" fmla="*/ 249989 h 322390"/>
                  <a:gd name="connsiteX4" fmla="*/ 121582 w 146768"/>
                  <a:gd name="connsiteY4" fmla="*/ 227049 h 322390"/>
                  <a:gd name="connsiteX5" fmla="*/ 29125 w 146768"/>
                  <a:gd name="connsiteY5" fmla="*/ 281818 h 322390"/>
                  <a:gd name="connsiteX6" fmla="*/ 29126 w 146768"/>
                  <a:gd name="connsiteY6" fmla="*/ 68495 h 322390"/>
                  <a:gd name="connsiteX7" fmla="*/ 101220 w 146768"/>
                  <a:gd name="connsiteY7" fmla="*/ 36746 h 322390"/>
                  <a:gd name="connsiteX8" fmla="*/ 98975 w 146768"/>
                  <a:gd name="connsiteY8" fmla="*/ 2800 h 322390"/>
                  <a:gd name="connsiteX0" fmla="*/ 98975 w 146768"/>
                  <a:gd name="connsiteY0" fmla="*/ 2800 h 322390"/>
                  <a:gd name="connsiteX1" fmla="*/ 8977 w 146768"/>
                  <a:gd name="connsiteY1" fmla="*/ 42379 h 322390"/>
                  <a:gd name="connsiteX2" fmla="*/ 0 w 146768"/>
                  <a:gd name="connsiteY2" fmla="*/ 322390 h 322390"/>
                  <a:gd name="connsiteX3" fmla="*/ 120131 w 146768"/>
                  <a:gd name="connsiteY3" fmla="*/ 249989 h 322390"/>
                  <a:gd name="connsiteX4" fmla="*/ 121582 w 146768"/>
                  <a:gd name="connsiteY4" fmla="*/ 227049 h 322390"/>
                  <a:gd name="connsiteX5" fmla="*/ 24636 w 146768"/>
                  <a:gd name="connsiteY5" fmla="*/ 296958 h 322390"/>
                  <a:gd name="connsiteX6" fmla="*/ 29126 w 146768"/>
                  <a:gd name="connsiteY6" fmla="*/ 68495 h 322390"/>
                  <a:gd name="connsiteX7" fmla="*/ 101220 w 146768"/>
                  <a:gd name="connsiteY7" fmla="*/ 36746 h 322390"/>
                  <a:gd name="connsiteX8" fmla="*/ 98975 w 146768"/>
                  <a:gd name="connsiteY8" fmla="*/ 2800 h 32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6768" h="322390">
                    <a:moveTo>
                      <a:pt x="98975" y="2800"/>
                    </a:moveTo>
                    <a:lnTo>
                      <a:pt x="8977" y="42379"/>
                    </a:lnTo>
                    <a:cubicBezTo>
                      <a:pt x="7481" y="131390"/>
                      <a:pt x="1496" y="233379"/>
                      <a:pt x="0" y="322390"/>
                    </a:cubicBezTo>
                    <a:lnTo>
                      <a:pt x="120131" y="249989"/>
                    </a:lnTo>
                    <a:cubicBezTo>
                      <a:pt x="163314" y="224732"/>
                      <a:pt x="146674" y="208857"/>
                      <a:pt x="121582" y="227049"/>
                    </a:cubicBezTo>
                    <a:lnTo>
                      <a:pt x="24636" y="296958"/>
                    </a:lnTo>
                    <a:cubicBezTo>
                      <a:pt x="24636" y="225850"/>
                      <a:pt x="29126" y="139603"/>
                      <a:pt x="29126" y="68495"/>
                    </a:cubicBezTo>
                    <a:lnTo>
                      <a:pt x="101220" y="36746"/>
                    </a:lnTo>
                    <a:cubicBezTo>
                      <a:pt x="130186" y="19670"/>
                      <a:pt x="121733" y="-9089"/>
                      <a:pt x="98975" y="2800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45"/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04" name="Freeform 103"/>
              <p:cNvSpPr/>
              <p:nvPr/>
            </p:nvSpPr>
            <p:spPr>
              <a:xfrm>
                <a:off x="9827443" y="817056"/>
                <a:ext cx="796379" cy="214095"/>
              </a:xfrm>
              <a:custGeom>
                <a:avLst/>
                <a:gdLst>
                  <a:gd name="connsiteX0" fmla="*/ 226219 w 504825"/>
                  <a:gd name="connsiteY0" fmla="*/ 0 h 192882"/>
                  <a:gd name="connsiteX1" fmla="*/ 226219 w 504825"/>
                  <a:gd name="connsiteY1" fmla="*/ 61913 h 192882"/>
                  <a:gd name="connsiteX2" fmla="*/ 0 w 504825"/>
                  <a:gd name="connsiteY2" fmla="*/ 164307 h 192882"/>
                  <a:gd name="connsiteX3" fmla="*/ 235744 w 504825"/>
                  <a:gd name="connsiteY3" fmla="*/ 83344 h 192882"/>
                  <a:gd name="connsiteX4" fmla="*/ 504825 w 504825"/>
                  <a:gd name="connsiteY4" fmla="*/ 192882 h 192882"/>
                  <a:gd name="connsiteX5" fmla="*/ 242887 w 504825"/>
                  <a:gd name="connsiteY5" fmla="*/ 64294 h 192882"/>
                  <a:gd name="connsiteX6" fmla="*/ 226219 w 504825"/>
                  <a:gd name="connsiteY6" fmla="*/ 0 h 192882"/>
                  <a:gd name="connsiteX0" fmla="*/ 226219 w 504825"/>
                  <a:gd name="connsiteY0" fmla="*/ 0 h 192882"/>
                  <a:gd name="connsiteX1" fmla="*/ 226219 w 504825"/>
                  <a:gd name="connsiteY1" fmla="*/ 61913 h 192882"/>
                  <a:gd name="connsiteX2" fmla="*/ 0 w 504825"/>
                  <a:gd name="connsiteY2" fmla="*/ 164307 h 192882"/>
                  <a:gd name="connsiteX3" fmla="*/ 228601 w 504825"/>
                  <a:gd name="connsiteY3" fmla="*/ 71438 h 192882"/>
                  <a:gd name="connsiteX4" fmla="*/ 504825 w 504825"/>
                  <a:gd name="connsiteY4" fmla="*/ 192882 h 192882"/>
                  <a:gd name="connsiteX5" fmla="*/ 242887 w 504825"/>
                  <a:gd name="connsiteY5" fmla="*/ 64294 h 192882"/>
                  <a:gd name="connsiteX6" fmla="*/ 226219 w 504825"/>
                  <a:gd name="connsiteY6" fmla="*/ 0 h 192882"/>
                  <a:gd name="connsiteX0" fmla="*/ 226219 w 504825"/>
                  <a:gd name="connsiteY0" fmla="*/ 0 h 192882"/>
                  <a:gd name="connsiteX1" fmla="*/ 219075 w 504825"/>
                  <a:gd name="connsiteY1" fmla="*/ 64295 h 192882"/>
                  <a:gd name="connsiteX2" fmla="*/ 0 w 504825"/>
                  <a:gd name="connsiteY2" fmla="*/ 164307 h 192882"/>
                  <a:gd name="connsiteX3" fmla="*/ 228601 w 504825"/>
                  <a:gd name="connsiteY3" fmla="*/ 71438 h 192882"/>
                  <a:gd name="connsiteX4" fmla="*/ 504825 w 504825"/>
                  <a:gd name="connsiteY4" fmla="*/ 192882 h 192882"/>
                  <a:gd name="connsiteX5" fmla="*/ 242887 w 504825"/>
                  <a:gd name="connsiteY5" fmla="*/ 64294 h 192882"/>
                  <a:gd name="connsiteX6" fmla="*/ 226219 w 504825"/>
                  <a:gd name="connsiteY6" fmla="*/ 0 h 192882"/>
                  <a:gd name="connsiteX0" fmla="*/ 226219 w 504825"/>
                  <a:gd name="connsiteY0" fmla="*/ 0 h 192882"/>
                  <a:gd name="connsiteX1" fmla="*/ 219075 w 504825"/>
                  <a:gd name="connsiteY1" fmla="*/ 64295 h 192882"/>
                  <a:gd name="connsiteX2" fmla="*/ 0 w 504825"/>
                  <a:gd name="connsiteY2" fmla="*/ 164307 h 192882"/>
                  <a:gd name="connsiteX3" fmla="*/ 228601 w 504825"/>
                  <a:gd name="connsiteY3" fmla="*/ 71438 h 192882"/>
                  <a:gd name="connsiteX4" fmla="*/ 504825 w 504825"/>
                  <a:gd name="connsiteY4" fmla="*/ 192882 h 192882"/>
                  <a:gd name="connsiteX5" fmla="*/ 230981 w 504825"/>
                  <a:gd name="connsiteY5" fmla="*/ 64294 h 192882"/>
                  <a:gd name="connsiteX6" fmla="*/ 226219 w 504825"/>
                  <a:gd name="connsiteY6" fmla="*/ 0 h 192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4825" h="192882">
                    <a:moveTo>
                      <a:pt x="226219" y="0"/>
                    </a:moveTo>
                    <a:lnTo>
                      <a:pt x="219075" y="64295"/>
                    </a:lnTo>
                    <a:lnTo>
                      <a:pt x="0" y="164307"/>
                    </a:lnTo>
                    <a:lnTo>
                      <a:pt x="228601" y="71438"/>
                    </a:lnTo>
                    <a:lnTo>
                      <a:pt x="504825" y="192882"/>
                    </a:lnTo>
                    <a:lnTo>
                      <a:pt x="230981" y="64294"/>
                    </a:lnTo>
                    <a:lnTo>
                      <a:pt x="226219" y="0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45"/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95" name="Freeform 94"/>
            <p:cNvSpPr/>
            <p:nvPr/>
          </p:nvSpPr>
          <p:spPr>
            <a:xfrm>
              <a:off x="8259914" y="559044"/>
              <a:ext cx="1202082" cy="568276"/>
            </a:xfrm>
            <a:custGeom>
              <a:avLst/>
              <a:gdLst>
                <a:gd name="connsiteX0" fmla="*/ 352425 w 762000"/>
                <a:gd name="connsiteY0" fmla="*/ 0 h 511969"/>
                <a:gd name="connsiteX1" fmla="*/ 47625 w 762000"/>
                <a:gd name="connsiteY1" fmla="*/ 97631 h 511969"/>
                <a:gd name="connsiteX2" fmla="*/ 11906 w 762000"/>
                <a:gd name="connsiteY2" fmla="*/ 97631 h 511969"/>
                <a:gd name="connsiteX3" fmla="*/ 9525 w 762000"/>
                <a:gd name="connsiteY3" fmla="*/ 169069 h 511969"/>
                <a:gd name="connsiteX4" fmla="*/ 0 w 762000"/>
                <a:gd name="connsiteY4" fmla="*/ 183356 h 511969"/>
                <a:gd name="connsiteX5" fmla="*/ 2381 w 762000"/>
                <a:gd name="connsiteY5" fmla="*/ 295275 h 511969"/>
                <a:gd name="connsiteX6" fmla="*/ 52387 w 762000"/>
                <a:gd name="connsiteY6" fmla="*/ 276225 h 511969"/>
                <a:gd name="connsiteX7" fmla="*/ 333375 w 762000"/>
                <a:gd name="connsiteY7" fmla="*/ 440531 h 511969"/>
                <a:gd name="connsiteX8" fmla="*/ 326231 w 762000"/>
                <a:gd name="connsiteY8" fmla="*/ 481013 h 511969"/>
                <a:gd name="connsiteX9" fmla="*/ 376237 w 762000"/>
                <a:gd name="connsiteY9" fmla="*/ 464344 h 511969"/>
                <a:gd name="connsiteX10" fmla="*/ 445293 w 762000"/>
                <a:gd name="connsiteY10" fmla="*/ 511969 h 511969"/>
                <a:gd name="connsiteX11" fmla="*/ 464343 w 762000"/>
                <a:gd name="connsiteY11" fmla="*/ 478631 h 511969"/>
                <a:gd name="connsiteX12" fmla="*/ 754856 w 762000"/>
                <a:gd name="connsiteY12" fmla="*/ 276225 h 511969"/>
                <a:gd name="connsiteX13" fmla="*/ 762000 w 762000"/>
                <a:gd name="connsiteY13" fmla="*/ 138113 h 511969"/>
                <a:gd name="connsiteX14" fmla="*/ 352425 w 762000"/>
                <a:gd name="connsiteY14" fmla="*/ 0 h 511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000" h="511969">
                  <a:moveTo>
                    <a:pt x="352425" y="0"/>
                  </a:moveTo>
                  <a:lnTo>
                    <a:pt x="47625" y="97631"/>
                  </a:lnTo>
                  <a:lnTo>
                    <a:pt x="11906" y="97631"/>
                  </a:lnTo>
                  <a:cubicBezTo>
                    <a:pt x="11112" y="121444"/>
                    <a:pt x="10319" y="145256"/>
                    <a:pt x="9525" y="169069"/>
                  </a:cubicBezTo>
                  <a:lnTo>
                    <a:pt x="0" y="183356"/>
                  </a:lnTo>
                  <a:cubicBezTo>
                    <a:pt x="794" y="220662"/>
                    <a:pt x="1587" y="257969"/>
                    <a:pt x="2381" y="295275"/>
                  </a:cubicBezTo>
                  <a:lnTo>
                    <a:pt x="52387" y="276225"/>
                  </a:lnTo>
                  <a:lnTo>
                    <a:pt x="333375" y="440531"/>
                  </a:lnTo>
                  <a:lnTo>
                    <a:pt x="326231" y="481013"/>
                  </a:lnTo>
                  <a:lnTo>
                    <a:pt x="376237" y="464344"/>
                  </a:lnTo>
                  <a:lnTo>
                    <a:pt x="445293" y="511969"/>
                  </a:lnTo>
                  <a:lnTo>
                    <a:pt x="464343" y="478631"/>
                  </a:lnTo>
                  <a:lnTo>
                    <a:pt x="754856" y="276225"/>
                  </a:lnTo>
                  <a:lnTo>
                    <a:pt x="762000" y="138113"/>
                  </a:lnTo>
                  <a:lnTo>
                    <a:pt x="352425" y="0"/>
                  </a:lnTo>
                  <a:close/>
                </a:path>
              </a:pathLst>
            </a:custGeom>
            <a:solidFill>
              <a:schemeClr val="accent5">
                <a:alpha val="20000"/>
              </a:schemeClr>
            </a:solidFill>
            <a:ln w="3175">
              <a:solidFill>
                <a:schemeClr val="accent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445"/>
              <a:endPara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29" name="Right Arrow 128"/>
          <p:cNvSpPr/>
          <p:nvPr/>
        </p:nvSpPr>
        <p:spPr bwMode="auto">
          <a:xfrm>
            <a:off x="6940028" y="3871130"/>
            <a:ext cx="445847" cy="401293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393" tIns="45696" rIns="91393" bIns="45696" numCol="1" rtlCol="0" anchor="ctr" anchorCtr="0" compatLnSpc="1">
            <a:prstTxWarp prst="textNoShape">
              <a:avLst/>
            </a:prstTxWarp>
          </a:bodyPr>
          <a:lstStyle/>
          <a:p>
            <a:pPr algn="ctr" defTabSz="913654" fontAlgn="base">
              <a:spcBef>
                <a:spcPts val="200"/>
              </a:spcBef>
              <a:spcAft>
                <a:spcPct val="0"/>
              </a:spcAft>
            </a:pP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547664" y="3126193"/>
            <a:ext cx="182880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445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Management Portal</a:t>
            </a:r>
          </a:p>
        </p:txBody>
      </p:sp>
      <p:pic>
        <p:nvPicPr>
          <p:cNvPr id="2050" name="Picture 2" descr="http://social.technet.microsoft.com/wiki/cfs-filesystemfile.ashx/__key/communityserver-components-imagefileviewer/communityserver-wikis-components-files-00-00-00-00-05/5315.powershell_2D00_logo.gif_2D00_550x0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766" y="3928225"/>
            <a:ext cx="580604" cy="396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" name="TextBox 116"/>
          <p:cNvSpPr txBox="1"/>
          <p:nvPr/>
        </p:nvSpPr>
        <p:spPr>
          <a:xfrm>
            <a:off x="1699282" y="3928225"/>
            <a:ext cx="1828800" cy="7140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445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Scripting </a:t>
            </a:r>
          </a:p>
          <a:p>
            <a:pPr defTabSz="1218445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(Windows, </a:t>
            </a:r>
            <a:b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Linux and Mac) 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1699282" y="5230774"/>
            <a:ext cx="999715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445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REST API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16572" y="1988840"/>
            <a:ext cx="1309076" cy="369255"/>
          </a:xfrm>
          <a:prstGeom prst="rect">
            <a:avLst/>
          </a:prstGeom>
          <a:noFill/>
        </p:spPr>
        <p:txBody>
          <a:bodyPr wrap="none" lIns="0" tIns="60922" rIns="0" bIns="60922">
            <a:spAutoFit/>
          </a:bodyPr>
          <a:lstStyle/>
          <a:p>
            <a:pPr defTabSz="1218445"/>
            <a:r>
              <a:rPr lang="en-US" sz="1600" dirty="0">
                <a:ln w="1905"/>
                <a:solidFill>
                  <a:schemeClr val="bg1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anose="020F0502020204030204" pitchFamily="34" charset="0"/>
              </a:rPr>
              <a:t>Getting Started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3401590" y="1988840"/>
            <a:ext cx="2122441" cy="369255"/>
          </a:xfrm>
          <a:prstGeom prst="rect">
            <a:avLst/>
          </a:prstGeom>
          <a:noFill/>
        </p:spPr>
        <p:txBody>
          <a:bodyPr wrap="none" lIns="0" tIns="60922" rIns="0" bIns="60922">
            <a:spAutoFit/>
          </a:bodyPr>
          <a:lstStyle/>
          <a:p>
            <a:pPr defTabSz="1218445"/>
            <a:r>
              <a:rPr lang="en-US" sz="1600" dirty="0">
                <a:ln w="1905"/>
                <a:solidFill>
                  <a:schemeClr val="bg1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anose="020F0502020204030204" pitchFamily="34" charset="0"/>
              </a:rPr>
              <a:t>Select Image and VM Size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5986881" y="1988840"/>
            <a:ext cx="2540824" cy="369255"/>
          </a:xfrm>
          <a:prstGeom prst="rect">
            <a:avLst/>
          </a:prstGeom>
          <a:noFill/>
        </p:spPr>
        <p:txBody>
          <a:bodyPr wrap="none" lIns="0" tIns="60922" rIns="0" bIns="60922">
            <a:spAutoFit/>
          </a:bodyPr>
          <a:lstStyle/>
          <a:p>
            <a:pPr defTabSz="1218445"/>
            <a:r>
              <a:rPr lang="en-US" sz="1600" dirty="0">
                <a:ln w="1905"/>
                <a:solidFill>
                  <a:schemeClr val="bg1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anose="020F0502020204030204" pitchFamily="34" charset="0"/>
              </a:rPr>
              <a:t>New Disk Persisted in Storage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6070038" y="2954126"/>
            <a:ext cx="2255081" cy="369255"/>
          </a:xfrm>
          <a:prstGeom prst="rect">
            <a:avLst/>
          </a:prstGeom>
          <a:noFill/>
        </p:spPr>
        <p:txBody>
          <a:bodyPr wrap="none" lIns="121845" tIns="60922" rIns="121845" bIns="60922">
            <a:spAutoFit/>
          </a:bodyPr>
          <a:lstStyle/>
          <a:p>
            <a:pPr algn="ctr" defTabSz="1218445"/>
            <a:r>
              <a:rPr lang="en-US" sz="1600" dirty="0">
                <a:ln w="1905"/>
                <a:solidFill>
                  <a:schemeClr val="bg1"/>
                </a:solidFill>
                <a:latin typeface="Calibri" panose="020F0502020204030204" pitchFamily="34" charset="0"/>
              </a:rPr>
              <a:t>Boot VM from New Disk</a:t>
            </a:r>
          </a:p>
        </p:txBody>
      </p:sp>
      <p:grpSp>
        <p:nvGrpSpPr>
          <p:cNvPr id="182" name="Group 181"/>
          <p:cNvGrpSpPr/>
          <p:nvPr/>
        </p:nvGrpSpPr>
        <p:grpSpPr bwMode="black">
          <a:xfrm>
            <a:off x="917249" y="4966539"/>
            <a:ext cx="699995" cy="647549"/>
            <a:chOff x="5184775" y="225425"/>
            <a:chExt cx="1500188" cy="1220788"/>
          </a:xfrm>
          <a:solidFill>
            <a:srgbClr val="FFFFFF"/>
          </a:solidFill>
        </p:grpSpPr>
        <p:sp>
          <p:nvSpPr>
            <p:cNvPr id="183" name="Freeform 86"/>
            <p:cNvSpPr>
              <a:spLocks noEditPoints="1"/>
            </p:cNvSpPr>
            <p:nvPr/>
          </p:nvSpPr>
          <p:spPr bwMode="black">
            <a:xfrm>
              <a:off x="5184775" y="344488"/>
              <a:ext cx="1095375" cy="1101725"/>
            </a:xfrm>
            <a:custGeom>
              <a:avLst/>
              <a:gdLst>
                <a:gd name="T0" fmla="*/ 287 w 292"/>
                <a:gd name="T1" fmla="*/ 113 h 294"/>
                <a:gd name="T2" fmla="*/ 239 w 292"/>
                <a:gd name="T3" fmla="*/ 105 h 294"/>
                <a:gd name="T4" fmla="*/ 252 w 292"/>
                <a:gd name="T5" fmla="*/ 58 h 294"/>
                <a:gd name="T6" fmla="*/ 229 w 292"/>
                <a:gd name="T7" fmla="*/ 32 h 294"/>
                <a:gd name="T8" fmla="*/ 187 w 292"/>
                <a:gd name="T9" fmla="*/ 57 h 294"/>
                <a:gd name="T10" fmla="*/ 167 w 292"/>
                <a:gd name="T11" fmla="*/ 6 h 294"/>
                <a:gd name="T12" fmla="*/ 132 w 292"/>
                <a:gd name="T13" fmla="*/ 0 h 294"/>
                <a:gd name="T14" fmla="*/ 115 w 292"/>
                <a:gd name="T15" fmla="*/ 53 h 294"/>
                <a:gd name="T16" fmla="*/ 72 w 292"/>
                <a:gd name="T17" fmla="*/ 31 h 294"/>
                <a:gd name="T18" fmla="*/ 42 w 292"/>
                <a:gd name="T19" fmla="*/ 49 h 294"/>
                <a:gd name="T20" fmla="*/ 59 w 292"/>
                <a:gd name="T21" fmla="*/ 95 h 294"/>
                <a:gd name="T22" fmla="*/ 12 w 292"/>
                <a:gd name="T23" fmla="*/ 107 h 294"/>
                <a:gd name="T24" fmla="*/ 0 w 292"/>
                <a:gd name="T25" fmla="*/ 140 h 294"/>
                <a:gd name="T26" fmla="*/ 43 w 292"/>
                <a:gd name="T27" fmla="*/ 164 h 294"/>
                <a:gd name="T28" fmla="*/ 14 w 292"/>
                <a:gd name="T29" fmla="*/ 204 h 294"/>
                <a:gd name="T30" fmla="*/ 27 w 292"/>
                <a:gd name="T31" fmla="*/ 237 h 294"/>
                <a:gd name="T32" fmla="*/ 75 w 292"/>
                <a:gd name="T33" fmla="*/ 227 h 294"/>
                <a:gd name="T34" fmla="*/ 79 w 292"/>
                <a:gd name="T35" fmla="*/ 276 h 294"/>
                <a:gd name="T36" fmla="*/ 109 w 292"/>
                <a:gd name="T37" fmla="*/ 293 h 294"/>
                <a:gd name="T38" fmla="*/ 140 w 292"/>
                <a:gd name="T39" fmla="*/ 255 h 294"/>
                <a:gd name="T40" fmla="*/ 152 w 292"/>
                <a:gd name="T41" fmla="*/ 255 h 294"/>
                <a:gd name="T42" fmla="*/ 183 w 292"/>
                <a:gd name="T43" fmla="*/ 293 h 294"/>
                <a:gd name="T44" fmla="*/ 213 w 292"/>
                <a:gd name="T45" fmla="*/ 276 h 294"/>
                <a:gd name="T46" fmla="*/ 217 w 292"/>
                <a:gd name="T47" fmla="*/ 227 h 294"/>
                <a:gd name="T48" fmla="*/ 265 w 292"/>
                <a:gd name="T49" fmla="*/ 237 h 294"/>
                <a:gd name="T50" fmla="*/ 278 w 292"/>
                <a:gd name="T51" fmla="*/ 204 h 294"/>
                <a:gd name="T52" fmla="*/ 249 w 292"/>
                <a:gd name="T53" fmla="*/ 164 h 294"/>
                <a:gd name="T54" fmla="*/ 292 w 292"/>
                <a:gd name="T55" fmla="*/ 140 h 294"/>
                <a:gd name="T56" fmla="*/ 187 w 292"/>
                <a:gd name="T57" fmla="*/ 193 h 294"/>
                <a:gd name="T58" fmla="*/ 105 w 292"/>
                <a:gd name="T59" fmla="*/ 193 h 294"/>
                <a:gd name="T60" fmla="*/ 105 w 292"/>
                <a:gd name="T61" fmla="*/ 111 h 294"/>
                <a:gd name="T62" fmla="*/ 187 w 292"/>
                <a:gd name="T63" fmla="*/ 11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294">
                  <a:moveTo>
                    <a:pt x="292" y="140"/>
                  </a:moveTo>
                  <a:cubicBezTo>
                    <a:pt x="287" y="113"/>
                    <a:pt x="287" y="113"/>
                    <a:pt x="287" y="113"/>
                  </a:cubicBezTo>
                  <a:cubicBezTo>
                    <a:pt x="286" y="110"/>
                    <a:pt x="284" y="108"/>
                    <a:pt x="280" y="107"/>
                  </a:cubicBezTo>
                  <a:cubicBezTo>
                    <a:pt x="239" y="105"/>
                    <a:pt x="239" y="105"/>
                    <a:pt x="239" y="105"/>
                  </a:cubicBezTo>
                  <a:cubicBezTo>
                    <a:pt x="237" y="102"/>
                    <a:pt x="235" y="98"/>
                    <a:pt x="233" y="95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254" y="55"/>
                    <a:pt x="253" y="51"/>
                    <a:pt x="250" y="49"/>
                  </a:cubicBezTo>
                  <a:cubicBezTo>
                    <a:pt x="229" y="32"/>
                    <a:pt x="229" y="32"/>
                    <a:pt x="229" y="32"/>
                  </a:cubicBezTo>
                  <a:cubicBezTo>
                    <a:pt x="227" y="29"/>
                    <a:pt x="223" y="29"/>
                    <a:pt x="220" y="31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184" y="55"/>
                    <a:pt x="181" y="54"/>
                    <a:pt x="177" y="53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6" y="3"/>
                    <a:pt x="163" y="0"/>
                    <a:pt x="16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9" y="0"/>
                    <a:pt x="126" y="3"/>
                    <a:pt x="125" y="6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1" y="54"/>
                    <a:pt x="108" y="55"/>
                    <a:pt x="105" y="57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69" y="29"/>
                    <a:pt x="65" y="29"/>
                    <a:pt x="63" y="3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39" y="51"/>
                    <a:pt x="39" y="55"/>
                    <a:pt x="40" y="58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7" y="98"/>
                    <a:pt x="55" y="102"/>
                    <a:pt x="53" y="105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07"/>
                    <a:pt x="6" y="110"/>
                    <a:pt x="5" y="113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3"/>
                    <a:pt x="1" y="147"/>
                    <a:pt x="4" y="148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4" y="168"/>
                    <a:pt x="44" y="172"/>
                    <a:pt x="45" y="176"/>
                  </a:cubicBezTo>
                  <a:cubicBezTo>
                    <a:pt x="14" y="204"/>
                    <a:pt x="14" y="204"/>
                    <a:pt x="14" y="204"/>
                  </a:cubicBezTo>
                  <a:cubicBezTo>
                    <a:pt x="12" y="206"/>
                    <a:pt x="11" y="210"/>
                    <a:pt x="13" y="213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8" y="239"/>
                    <a:pt x="32" y="241"/>
                    <a:pt x="35" y="240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8" y="230"/>
                    <a:pt x="81" y="233"/>
                    <a:pt x="84" y="235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8" y="280"/>
                    <a:pt x="80" y="283"/>
                    <a:pt x="83" y="284"/>
                  </a:cubicBezTo>
                  <a:cubicBezTo>
                    <a:pt x="109" y="293"/>
                    <a:pt x="109" y="293"/>
                    <a:pt x="109" y="293"/>
                  </a:cubicBezTo>
                  <a:cubicBezTo>
                    <a:pt x="112" y="294"/>
                    <a:pt x="116" y="293"/>
                    <a:pt x="118" y="291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142" y="255"/>
                    <a:pt x="144" y="256"/>
                    <a:pt x="146" y="256"/>
                  </a:cubicBezTo>
                  <a:cubicBezTo>
                    <a:pt x="148" y="256"/>
                    <a:pt x="150" y="255"/>
                    <a:pt x="152" y="255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6" y="293"/>
                    <a:pt x="180" y="294"/>
                    <a:pt x="183" y="293"/>
                  </a:cubicBezTo>
                  <a:cubicBezTo>
                    <a:pt x="209" y="284"/>
                    <a:pt x="209" y="284"/>
                    <a:pt x="209" y="284"/>
                  </a:cubicBezTo>
                  <a:cubicBezTo>
                    <a:pt x="212" y="283"/>
                    <a:pt x="214" y="280"/>
                    <a:pt x="213" y="276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11" y="232"/>
                    <a:pt x="214" y="230"/>
                    <a:pt x="217" y="227"/>
                  </a:cubicBezTo>
                  <a:cubicBezTo>
                    <a:pt x="257" y="240"/>
                    <a:pt x="257" y="240"/>
                    <a:pt x="257" y="240"/>
                  </a:cubicBezTo>
                  <a:cubicBezTo>
                    <a:pt x="260" y="241"/>
                    <a:pt x="264" y="239"/>
                    <a:pt x="265" y="237"/>
                  </a:cubicBezTo>
                  <a:cubicBezTo>
                    <a:pt x="279" y="213"/>
                    <a:pt x="279" y="213"/>
                    <a:pt x="279" y="213"/>
                  </a:cubicBezTo>
                  <a:cubicBezTo>
                    <a:pt x="281" y="210"/>
                    <a:pt x="280" y="206"/>
                    <a:pt x="278" y="204"/>
                  </a:cubicBezTo>
                  <a:cubicBezTo>
                    <a:pt x="247" y="176"/>
                    <a:pt x="247" y="176"/>
                    <a:pt x="247" y="176"/>
                  </a:cubicBezTo>
                  <a:cubicBezTo>
                    <a:pt x="248" y="172"/>
                    <a:pt x="248" y="168"/>
                    <a:pt x="249" y="164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91" y="147"/>
                    <a:pt x="292" y="144"/>
                    <a:pt x="292" y="140"/>
                  </a:cubicBezTo>
                  <a:close/>
                  <a:moveTo>
                    <a:pt x="204" y="152"/>
                  </a:moveTo>
                  <a:cubicBezTo>
                    <a:pt x="204" y="168"/>
                    <a:pt x="197" y="182"/>
                    <a:pt x="187" y="193"/>
                  </a:cubicBezTo>
                  <a:cubicBezTo>
                    <a:pt x="176" y="203"/>
                    <a:pt x="162" y="210"/>
                    <a:pt x="146" y="210"/>
                  </a:cubicBezTo>
                  <a:cubicBezTo>
                    <a:pt x="130" y="210"/>
                    <a:pt x="116" y="203"/>
                    <a:pt x="105" y="193"/>
                  </a:cubicBezTo>
                  <a:cubicBezTo>
                    <a:pt x="95" y="182"/>
                    <a:pt x="88" y="168"/>
                    <a:pt x="88" y="152"/>
                  </a:cubicBezTo>
                  <a:cubicBezTo>
                    <a:pt x="88" y="136"/>
                    <a:pt x="95" y="121"/>
                    <a:pt x="105" y="111"/>
                  </a:cubicBezTo>
                  <a:cubicBezTo>
                    <a:pt x="116" y="100"/>
                    <a:pt x="130" y="94"/>
                    <a:pt x="146" y="94"/>
                  </a:cubicBezTo>
                  <a:cubicBezTo>
                    <a:pt x="162" y="94"/>
                    <a:pt x="176" y="100"/>
                    <a:pt x="187" y="111"/>
                  </a:cubicBezTo>
                  <a:cubicBezTo>
                    <a:pt x="197" y="121"/>
                    <a:pt x="204" y="136"/>
                    <a:pt x="204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591"/>
              <a:endParaRPr lang="en-US" sz="12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4" name="Oval 87"/>
            <p:cNvSpPr>
              <a:spLocks noChangeArrowheads="1"/>
            </p:cNvSpPr>
            <p:nvPr/>
          </p:nvSpPr>
          <p:spPr bwMode="black">
            <a:xfrm>
              <a:off x="5630863" y="812800"/>
              <a:ext cx="203200" cy="203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591"/>
              <a:endParaRPr lang="en-US" sz="12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5" name="Freeform 88"/>
            <p:cNvSpPr>
              <a:spLocks noEditPoints="1"/>
            </p:cNvSpPr>
            <p:nvPr/>
          </p:nvSpPr>
          <p:spPr bwMode="black">
            <a:xfrm>
              <a:off x="6129338" y="225425"/>
              <a:ext cx="555625" cy="598488"/>
            </a:xfrm>
            <a:custGeom>
              <a:avLst/>
              <a:gdLst>
                <a:gd name="T0" fmla="*/ 129 w 148"/>
                <a:gd name="T1" fmla="*/ 91 h 160"/>
                <a:gd name="T2" fmla="*/ 131 w 148"/>
                <a:gd name="T3" fmla="*/ 80 h 160"/>
                <a:gd name="T4" fmla="*/ 129 w 148"/>
                <a:gd name="T5" fmla="*/ 70 h 160"/>
                <a:gd name="T6" fmla="*/ 145 w 148"/>
                <a:gd name="T7" fmla="*/ 55 h 160"/>
                <a:gd name="T8" fmla="*/ 147 w 148"/>
                <a:gd name="T9" fmla="*/ 50 h 160"/>
                <a:gd name="T10" fmla="*/ 147 w 148"/>
                <a:gd name="T11" fmla="*/ 46 h 160"/>
                <a:gd name="T12" fmla="*/ 140 w 148"/>
                <a:gd name="T13" fmla="*/ 34 h 160"/>
                <a:gd name="T14" fmla="*/ 133 w 148"/>
                <a:gd name="T15" fmla="*/ 31 h 160"/>
                <a:gd name="T16" fmla="*/ 131 w 148"/>
                <a:gd name="T17" fmla="*/ 31 h 160"/>
                <a:gd name="T18" fmla="*/ 111 w 148"/>
                <a:gd name="T19" fmla="*/ 37 h 160"/>
                <a:gd name="T20" fmla="*/ 92 w 148"/>
                <a:gd name="T21" fmla="*/ 27 h 160"/>
                <a:gd name="T22" fmla="*/ 88 w 148"/>
                <a:gd name="T23" fmla="*/ 6 h 160"/>
                <a:gd name="T24" fmla="*/ 81 w 148"/>
                <a:gd name="T25" fmla="*/ 0 h 160"/>
                <a:gd name="T26" fmla="*/ 67 w 148"/>
                <a:gd name="T27" fmla="*/ 0 h 160"/>
                <a:gd name="T28" fmla="*/ 60 w 148"/>
                <a:gd name="T29" fmla="*/ 6 h 160"/>
                <a:gd name="T30" fmla="*/ 55 w 148"/>
                <a:gd name="T31" fmla="*/ 27 h 160"/>
                <a:gd name="T32" fmla="*/ 37 w 148"/>
                <a:gd name="T33" fmla="*/ 38 h 160"/>
                <a:gd name="T34" fmla="*/ 16 w 148"/>
                <a:gd name="T35" fmla="*/ 31 h 160"/>
                <a:gd name="T36" fmla="*/ 14 w 148"/>
                <a:gd name="T37" fmla="*/ 31 h 160"/>
                <a:gd name="T38" fmla="*/ 8 w 148"/>
                <a:gd name="T39" fmla="*/ 34 h 160"/>
                <a:gd name="T40" fmla="*/ 1 w 148"/>
                <a:gd name="T41" fmla="*/ 46 h 160"/>
                <a:gd name="T42" fmla="*/ 0 w 148"/>
                <a:gd name="T43" fmla="*/ 50 h 160"/>
                <a:gd name="T44" fmla="*/ 2 w 148"/>
                <a:gd name="T45" fmla="*/ 55 h 160"/>
                <a:gd name="T46" fmla="*/ 19 w 148"/>
                <a:gd name="T47" fmla="*/ 70 h 160"/>
                <a:gd name="T48" fmla="*/ 17 w 148"/>
                <a:gd name="T49" fmla="*/ 80 h 160"/>
                <a:gd name="T50" fmla="*/ 19 w 148"/>
                <a:gd name="T51" fmla="*/ 91 h 160"/>
                <a:gd name="T52" fmla="*/ 2 w 148"/>
                <a:gd name="T53" fmla="*/ 106 h 160"/>
                <a:gd name="T54" fmla="*/ 0 w 148"/>
                <a:gd name="T55" fmla="*/ 111 h 160"/>
                <a:gd name="T56" fmla="*/ 1 w 148"/>
                <a:gd name="T57" fmla="*/ 114 h 160"/>
                <a:gd name="T58" fmla="*/ 8 w 148"/>
                <a:gd name="T59" fmla="*/ 126 h 160"/>
                <a:gd name="T60" fmla="*/ 14 w 148"/>
                <a:gd name="T61" fmla="*/ 130 h 160"/>
                <a:gd name="T62" fmla="*/ 16 w 148"/>
                <a:gd name="T63" fmla="*/ 130 h 160"/>
                <a:gd name="T64" fmla="*/ 37 w 148"/>
                <a:gd name="T65" fmla="*/ 123 h 160"/>
                <a:gd name="T66" fmla="*/ 55 w 148"/>
                <a:gd name="T67" fmla="*/ 133 h 160"/>
                <a:gd name="T68" fmla="*/ 60 w 148"/>
                <a:gd name="T69" fmla="*/ 155 h 160"/>
                <a:gd name="T70" fmla="*/ 67 w 148"/>
                <a:gd name="T71" fmla="*/ 160 h 160"/>
                <a:gd name="T72" fmla="*/ 81 w 148"/>
                <a:gd name="T73" fmla="*/ 160 h 160"/>
                <a:gd name="T74" fmla="*/ 88 w 148"/>
                <a:gd name="T75" fmla="*/ 155 h 160"/>
                <a:gd name="T76" fmla="*/ 92 w 148"/>
                <a:gd name="T77" fmla="*/ 134 h 160"/>
                <a:gd name="T78" fmla="*/ 111 w 148"/>
                <a:gd name="T79" fmla="*/ 123 h 160"/>
                <a:gd name="T80" fmla="*/ 131 w 148"/>
                <a:gd name="T81" fmla="*/ 130 h 160"/>
                <a:gd name="T82" fmla="*/ 133 w 148"/>
                <a:gd name="T83" fmla="*/ 130 h 160"/>
                <a:gd name="T84" fmla="*/ 140 w 148"/>
                <a:gd name="T85" fmla="*/ 126 h 160"/>
                <a:gd name="T86" fmla="*/ 147 w 148"/>
                <a:gd name="T87" fmla="*/ 114 h 160"/>
                <a:gd name="T88" fmla="*/ 147 w 148"/>
                <a:gd name="T89" fmla="*/ 111 h 160"/>
                <a:gd name="T90" fmla="*/ 145 w 148"/>
                <a:gd name="T91" fmla="*/ 106 h 160"/>
                <a:gd name="T92" fmla="*/ 129 w 148"/>
                <a:gd name="T93" fmla="*/ 91 h 160"/>
                <a:gd name="T94" fmla="*/ 96 w 148"/>
                <a:gd name="T95" fmla="*/ 80 h 160"/>
                <a:gd name="T96" fmla="*/ 74 w 148"/>
                <a:gd name="T97" fmla="*/ 102 h 160"/>
                <a:gd name="T98" fmla="*/ 52 w 148"/>
                <a:gd name="T99" fmla="*/ 80 h 160"/>
                <a:gd name="T100" fmla="*/ 74 w 148"/>
                <a:gd name="T101" fmla="*/ 58 h 160"/>
                <a:gd name="T102" fmla="*/ 96 w 148"/>
                <a:gd name="T103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60">
                  <a:moveTo>
                    <a:pt x="129" y="91"/>
                  </a:moveTo>
                  <a:cubicBezTo>
                    <a:pt x="130" y="88"/>
                    <a:pt x="131" y="84"/>
                    <a:pt x="131" y="80"/>
                  </a:cubicBezTo>
                  <a:cubicBezTo>
                    <a:pt x="131" y="77"/>
                    <a:pt x="130" y="73"/>
                    <a:pt x="129" y="70"/>
                  </a:cubicBezTo>
                  <a:cubicBezTo>
                    <a:pt x="145" y="55"/>
                    <a:pt x="145" y="55"/>
                    <a:pt x="145" y="55"/>
                  </a:cubicBezTo>
                  <a:cubicBezTo>
                    <a:pt x="147" y="54"/>
                    <a:pt x="147" y="52"/>
                    <a:pt x="147" y="50"/>
                  </a:cubicBezTo>
                  <a:cubicBezTo>
                    <a:pt x="147" y="49"/>
                    <a:pt x="147" y="47"/>
                    <a:pt x="147" y="4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8" y="32"/>
                    <a:pt x="136" y="31"/>
                    <a:pt x="133" y="31"/>
                  </a:cubicBezTo>
                  <a:cubicBezTo>
                    <a:pt x="133" y="31"/>
                    <a:pt x="132" y="31"/>
                    <a:pt x="131" y="3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5" y="33"/>
                    <a:pt x="99" y="29"/>
                    <a:pt x="92" y="27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7" y="3"/>
                    <a:pt x="84" y="0"/>
                    <a:pt x="8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0"/>
                    <a:pt x="61" y="3"/>
                    <a:pt x="60" y="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48" y="29"/>
                    <a:pt x="42" y="33"/>
                    <a:pt x="37" y="3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5" y="31"/>
                    <a:pt x="15" y="31"/>
                    <a:pt x="14" y="31"/>
                  </a:cubicBezTo>
                  <a:cubicBezTo>
                    <a:pt x="12" y="31"/>
                    <a:pt x="9" y="32"/>
                    <a:pt x="8" y="34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7"/>
                    <a:pt x="0" y="49"/>
                    <a:pt x="0" y="50"/>
                  </a:cubicBezTo>
                  <a:cubicBezTo>
                    <a:pt x="0" y="52"/>
                    <a:pt x="1" y="54"/>
                    <a:pt x="2" y="5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8" y="73"/>
                    <a:pt x="17" y="77"/>
                    <a:pt x="17" y="80"/>
                  </a:cubicBezTo>
                  <a:cubicBezTo>
                    <a:pt x="17" y="84"/>
                    <a:pt x="18" y="87"/>
                    <a:pt x="19" y="91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107"/>
                    <a:pt x="0" y="109"/>
                    <a:pt x="0" y="111"/>
                  </a:cubicBezTo>
                  <a:cubicBezTo>
                    <a:pt x="0" y="112"/>
                    <a:pt x="0" y="113"/>
                    <a:pt x="1" y="114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9" y="129"/>
                    <a:pt x="12" y="130"/>
                    <a:pt x="14" y="130"/>
                  </a:cubicBezTo>
                  <a:cubicBezTo>
                    <a:pt x="15" y="130"/>
                    <a:pt x="15" y="130"/>
                    <a:pt x="16" y="130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2" y="127"/>
                    <a:pt x="48" y="131"/>
                    <a:pt x="55" y="133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8"/>
                    <a:pt x="63" y="160"/>
                    <a:pt x="67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4" y="160"/>
                    <a:pt x="87" y="158"/>
                    <a:pt x="88" y="155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9" y="131"/>
                    <a:pt x="105" y="128"/>
                    <a:pt x="111" y="123"/>
                  </a:cubicBezTo>
                  <a:cubicBezTo>
                    <a:pt x="131" y="130"/>
                    <a:pt x="131" y="130"/>
                    <a:pt x="131" y="130"/>
                  </a:cubicBezTo>
                  <a:cubicBezTo>
                    <a:pt x="132" y="130"/>
                    <a:pt x="133" y="130"/>
                    <a:pt x="133" y="130"/>
                  </a:cubicBezTo>
                  <a:cubicBezTo>
                    <a:pt x="136" y="130"/>
                    <a:pt x="138" y="129"/>
                    <a:pt x="140" y="126"/>
                  </a:cubicBezTo>
                  <a:cubicBezTo>
                    <a:pt x="147" y="114"/>
                    <a:pt x="147" y="114"/>
                    <a:pt x="147" y="114"/>
                  </a:cubicBezTo>
                  <a:cubicBezTo>
                    <a:pt x="147" y="113"/>
                    <a:pt x="148" y="112"/>
                    <a:pt x="147" y="111"/>
                  </a:cubicBezTo>
                  <a:cubicBezTo>
                    <a:pt x="148" y="109"/>
                    <a:pt x="147" y="107"/>
                    <a:pt x="145" y="106"/>
                  </a:cubicBezTo>
                  <a:lnTo>
                    <a:pt x="129" y="91"/>
                  </a:lnTo>
                  <a:close/>
                  <a:moveTo>
                    <a:pt x="96" y="80"/>
                  </a:moveTo>
                  <a:cubicBezTo>
                    <a:pt x="96" y="92"/>
                    <a:pt x="86" y="102"/>
                    <a:pt x="74" y="102"/>
                  </a:cubicBezTo>
                  <a:cubicBezTo>
                    <a:pt x="62" y="102"/>
                    <a:pt x="52" y="92"/>
                    <a:pt x="52" y="80"/>
                  </a:cubicBezTo>
                  <a:cubicBezTo>
                    <a:pt x="52" y="68"/>
                    <a:pt x="62" y="58"/>
                    <a:pt x="74" y="58"/>
                  </a:cubicBezTo>
                  <a:cubicBezTo>
                    <a:pt x="86" y="58"/>
                    <a:pt x="96" y="68"/>
                    <a:pt x="9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591"/>
              <a:endParaRPr lang="en-US" sz="12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401590" y="2508915"/>
            <a:ext cx="2400300" cy="3399787"/>
            <a:chOff x="5442542" y="3586294"/>
            <a:chExt cx="3840480" cy="4079744"/>
          </a:xfrm>
        </p:grpSpPr>
        <p:sp>
          <p:nvSpPr>
            <p:cNvPr id="63" name="Rectangle 62"/>
            <p:cNvSpPr/>
            <p:nvPr/>
          </p:nvSpPr>
          <p:spPr>
            <a:xfrm>
              <a:off x="5442542" y="3586294"/>
              <a:ext cx="3840480" cy="4079744"/>
            </a:xfrm>
            <a:prstGeom prst="rect">
              <a:avLst/>
            </a:prstGeom>
            <a:solidFill>
              <a:schemeClr val="tx2">
                <a:lumMod val="9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09673" tIns="54838" rIns="109673" bIns="54838" numCol="1" spcCol="0" rtlCol="0" anchor="ctr" anchorCtr="0" compatLnSpc="1">
              <a:prstTxWarp prst="textNoShape">
                <a:avLst/>
              </a:prstTxWarp>
            </a:bodyPr>
            <a:lstStyle/>
            <a:p>
              <a:pPr algn="ctr" defTabSz="913343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8093470" y="3706425"/>
              <a:ext cx="709067" cy="682199"/>
              <a:chOff x="2488368" y="1695452"/>
              <a:chExt cx="980990" cy="980990"/>
            </a:xfrm>
          </p:grpSpPr>
          <p:sp>
            <p:nvSpPr>
              <p:cNvPr id="6" name="Oval 5"/>
              <p:cNvSpPr/>
              <p:nvPr/>
            </p:nvSpPr>
            <p:spPr bwMode="auto">
              <a:xfrm>
                <a:off x="2488368" y="1695452"/>
                <a:ext cx="980990" cy="980990"/>
              </a:xfrm>
              <a:prstGeom prst="ellipse">
                <a:avLst/>
              </a:prstGeom>
              <a:solidFill>
                <a:schemeClr val="tx1">
                  <a:lumMod val="50000"/>
                  <a:alpha val="43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9" name="Oval 18"/>
              <p:cNvSpPr/>
              <p:nvPr/>
            </p:nvSpPr>
            <p:spPr bwMode="auto">
              <a:xfrm>
                <a:off x="2856395" y="2063479"/>
                <a:ext cx="244936" cy="244936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pic>
          <p:nvPicPr>
            <p:cNvPr id="16" name="Picture 3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533" r="1352" b="7782"/>
            <a:stretch/>
          </p:blipFill>
          <p:spPr bwMode="auto">
            <a:xfrm>
              <a:off x="5835852" y="3927989"/>
              <a:ext cx="1997214" cy="3303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53" name="Picture 5" descr="New Windows 8 logo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4508" y="4690396"/>
              <a:ext cx="1838558" cy="292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7" name="Picture 9" descr="http://t3.gstatic.com/images?q=tbn:ANd9GcQtFqt1pk-YGmPWhTtB3AsZDmra-Et1fd8-nPSkBdNd8MPUBbvJulvWio_A4A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5622" y="5302843"/>
              <a:ext cx="1697445" cy="6149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2" name="Picture 14" descr="https://wiki.ubuntu.com/Brand?action=AttachFile&amp;do=get&amp;target=blackeubuntulogo.png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5888" y="6982806"/>
              <a:ext cx="1857181" cy="3296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53" name="Picture 105" descr="http://t0.gstatic.com/images?q=tbn:ANd9GcQrbLd7LkXlgv-V8XbX4YDBQjR-Ay7-uxppQtQx4M-BKRL8epwumHKvsj_Bjg"/>
            <p:cNvPicPr>
              <a:picLocks noChangeAspect="1" noChangeArrowheads="1"/>
            </p:cNvPicPr>
            <p:nvPr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3548" y="6035256"/>
              <a:ext cx="1329518" cy="8172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86" name="Group 185"/>
            <p:cNvGrpSpPr/>
            <p:nvPr/>
          </p:nvGrpSpPr>
          <p:grpSpPr>
            <a:xfrm>
              <a:off x="8093470" y="4501378"/>
              <a:ext cx="709067" cy="682199"/>
              <a:chOff x="2488368" y="1695452"/>
              <a:chExt cx="980990" cy="980990"/>
            </a:xfrm>
          </p:grpSpPr>
          <p:sp>
            <p:nvSpPr>
              <p:cNvPr id="187" name="Oval 186"/>
              <p:cNvSpPr/>
              <p:nvPr/>
            </p:nvSpPr>
            <p:spPr bwMode="auto">
              <a:xfrm>
                <a:off x="2488368" y="1695452"/>
                <a:ext cx="980990" cy="980990"/>
              </a:xfrm>
              <a:prstGeom prst="ellipse">
                <a:avLst/>
              </a:prstGeom>
              <a:solidFill>
                <a:schemeClr val="tx1">
                  <a:lumMod val="50000"/>
                  <a:alpha val="43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88" name="Oval 187"/>
              <p:cNvSpPr/>
              <p:nvPr/>
            </p:nvSpPr>
            <p:spPr bwMode="auto">
              <a:xfrm>
                <a:off x="2856395" y="2063479"/>
                <a:ext cx="244936" cy="244936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89" name="Group 188"/>
            <p:cNvGrpSpPr/>
            <p:nvPr/>
          </p:nvGrpSpPr>
          <p:grpSpPr>
            <a:xfrm>
              <a:off x="8093470" y="5296331"/>
              <a:ext cx="709067" cy="682199"/>
              <a:chOff x="2488368" y="1695452"/>
              <a:chExt cx="980990" cy="980990"/>
            </a:xfrm>
          </p:grpSpPr>
          <p:sp>
            <p:nvSpPr>
              <p:cNvPr id="190" name="Oval 189"/>
              <p:cNvSpPr/>
              <p:nvPr/>
            </p:nvSpPr>
            <p:spPr bwMode="auto">
              <a:xfrm>
                <a:off x="2488368" y="1695452"/>
                <a:ext cx="980990" cy="980990"/>
              </a:xfrm>
              <a:prstGeom prst="ellipse">
                <a:avLst/>
              </a:prstGeom>
              <a:solidFill>
                <a:schemeClr val="tx1">
                  <a:lumMod val="50000"/>
                  <a:alpha val="43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91" name="Oval 190"/>
              <p:cNvSpPr/>
              <p:nvPr/>
            </p:nvSpPr>
            <p:spPr bwMode="auto">
              <a:xfrm>
                <a:off x="2856395" y="2063479"/>
                <a:ext cx="244936" cy="244936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92" name="Group 191"/>
            <p:cNvGrpSpPr/>
            <p:nvPr/>
          </p:nvGrpSpPr>
          <p:grpSpPr>
            <a:xfrm>
              <a:off x="8093470" y="6091284"/>
              <a:ext cx="709067" cy="682199"/>
              <a:chOff x="2488368" y="1695452"/>
              <a:chExt cx="980990" cy="980990"/>
            </a:xfrm>
          </p:grpSpPr>
          <p:sp>
            <p:nvSpPr>
              <p:cNvPr id="193" name="Oval 192"/>
              <p:cNvSpPr/>
              <p:nvPr/>
            </p:nvSpPr>
            <p:spPr bwMode="auto">
              <a:xfrm>
                <a:off x="2488368" y="1695452"/>
                <a:ext cx="980990" cy="980990"/>
              </a:xfrm>
              <a:prstGeom prst="ellipse">
                <a:avLst/>
              </a:prstGeom>
              <a:solidFill>
                <a:schemeClr val="tx1">
                  <a:lumMod val="50000"/>
                  <a:alpha val="43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94" name="Oval 193"/>
              <p:cNvSpPr/>
              <p:nvPr/>
            </p:nvSpPr>
            <p:spPr bwMode="auto">
              <a:xfrm>
                <a:off x="2856395" y="2063479"/>
                <a:ext cx="244936" cy="244936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95" name="Group 194"/>
            <p:cNvGrpSpPr/>
            <p:nvPr/>
          </p:nvGrpSpPr>
          <p:grpSpPr>
            <a:xfrm>
              <a:off x="8093470" y="6886236"/>
              <a:ext cx="709067" cy="682199"/>
              <a:chOff x="2488368" y="1695452"/>
              <a:chExt cx="980990" cy="980990"/>
            </a:xfrm>
          </p:grpSpPr>
          <p:sp>
            <p:nvSpPr>
              <p:cNvPr id="196" name="Oval 195"/>
              <p:cNvSpPr/>
              <p:nvPr/>
            </p:nvSpPr>
            <p:spPr bwMode="auto">
              <a:xfrm>
                <a:off x="2488368" y="1695452"/>
                <a:ext cx="980990" cy="980990"/>
              </a:xfrm>
              <a:prstGeom prst="ellipse">
                <a:avLst/>
              </a:prstGeom>
              <a:solidFill>
                <a:schemeClr val="tx1">
                  <a:lumMod val="50000"/>
                  <a:alpha val="43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97" name="Oval 196"/>
              <p:cNvSpPr/>
              <p:nvPr/>
            </p:nvSpPr>
            <p:spPr bwMode="auto">
              <a:xfrm>
                <a:off x="2856395" y="2063479"/>
                <a:ext cx="244936" cy="244936"/>
              </a:xfrm>
              <a:prstGeom prst="ellipse">
                <a:avLst/>
              </a:prstGeom>
              <a:solidFill>
                <a:schemeClr val="tx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654" fontAlgn="base">
                  <a:spcBef>
                    <a:spcPts val="200"/>
                  </a:spcBef>
                  <a:spcAft>
                    <a:spcPct val="0"/>
                  </a:spcAft>
                </a:pPr>
                <a:endParaRPr lang="en-US" sz="1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grpSp>
        <p:nvGrpSpPr>
          <p:cNvPr id="238" name="Group 237"/>
          <p:cNvGrpSpPr>
            <a:grpSpLocks noChangeAspect="1"/>
          </p:cNvGrpSpPr>
          <p:nvPr/>
        </p:nvGrpSpPr>
        <p:grpSpPr bwMode="black">
          <a:xfrm>
            <a:off x="971320" y="2964247"/>
            <a:ext cx="559528" cy="383546"/>
            <a:chOff x="8843608" y="828600"/>
            <a:chExt cx="925448" cy="557448"/>
          </a:xfrm>
        </p:grpSpPr>
        <p:sp>
          <p:nvSpPr>
            <p:cNvPr id="239" name="Rectangle 238"/>
            <p:cNvSpPr/>
            <p:nvPr/>
          </p:nvSpPr>
          <p:spPr bwMode="black">
            <a:xfrm>
              <a:off x="8857595" y="835151"/>
              <a:ext cx="623646" cy="459637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381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40" name="Group 239"/>
            <p:cNvGrpSpPr/>
            <p:nvPr/>
          </p:nvGrpSpPr>
          <p:grpSpPr bwMode="black">
            <a:xfrm>
              <a:off x="8843608" y="828600"/>
              <a:ext cx="925448" cy="557448"/>
              <a:chOff x="863600" y="2393157"/>
              <a:chExt cx="876300" cy="527844"/>
            </a:xfrm>
            <a:solidFill>
              <a:schemeClr val="tx1"/>
            </a:solidFill>
          </p:grpSpPr>
          <p:sp>
            <p:nvSpPr>
              <p:cNvPr id="241" name="Freeform 240"/>
              <p:cNvSpPr>
                <a:spLocks noEditPoints="1"/>
              </p:cNvSpPr>
              <p:nvPr/>
            </p:nvSpPr>
            <p:spPr bwMode="black">
              <a:xfrm>
                <a:off x="1521931" y="2481334"/>
                <a:ext cx="217969" cy="439667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617040"/>
                <a:endParaRPr lang="en-US" sz="1600" spc="-102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242" name="Freeform 88"/>
              <p:cNvSpPr>
                <a:spLocks noEditPoints="1"/>
              </p:cNvSpPr>
              <p:nvPr/>
            </p:nvSpPr>
            <p:spPr bwMode="black">
              <a:xfrm>
                <a:off x="863600" y="2393157"/>
                <a:ext cx="622300" cy="527844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617040"/>
                <a:endParaRPr lang="en-US" sz="1600" spc="-102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144" name="Title 1"/>
          <p:cNvSpPr txBox="1">
            <a:spLocks/>
          </p:cNvSpPr>
          <p:nvPr/>
        </p:nvSpPr>
        <p:spPr>
          <a:xfrm>
            <a:off x="0" y="13175"/>
            <a:ext cx="9144000" cy="1399032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484632" algn="l" rtl="0" eaLnBrk="1" latinLnBrk="0" hangingPunct="1">
              <a:spcBef>
                <a:spcPct val="0"/>
              </a:spcBef>
              <a:buNone/>
              <a:defRPr kumimoji="0" sz="4200" b="0" kern="1200">
                <a:ln w="6350">
                  <a:solidFill>
                    <a:schemeClr val="accent1">
                      <a:shade val="43000"/>
                    </a:schemeClr>
                  </a:solidFill>
                </a:ln>
                <a:solidFill>
                  <a:schemeClr val="accent1">
                    <a:tint val="83000"/>
                    <a:satMod val="150000"/>
                  </a:schemeClr>
                </a:solidFill>
                <a:effectLst>
                  <a:outerShdw blurRad="26000" dist="26000" dir="145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Windows Azure Virtual Machines</a:t>
            </a:r>
            <a:endParaRPr lang="en-IE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46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1197"/>
            <a:ext cx="9144000" cy="1399032"/>
          </a:xfrm>
        </p:spPr>
        <p:txBody>
          <a:bodyPr>
            <a:norm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Supported Operating </a:t>
            </a:r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S</a:t>
            </a:r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ystems</a:t>
            </a:r>
            <a:endParaRPr lang="en-US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75985" y="1992196"/>
            <a:ext cx="1026258" cy="431712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7727115" y="1992196"/>
            <a:ext cx="1026258" cy="431712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708809" y="1992196"/>
            <a:ext cx="3018306" cy="43171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182880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363">
              <a:spcBef>
                <a:spcPts val="1800"/>
              </a:spcBef>
            </a:pPr>
            <a:r>
              <a:rPr lang="en-US" sz="2800" dirty="0">
                <a:solidFill>
                  <a:schemeClr val="bg1"/>
                </a:solidFill>
                <a:latin typeface="Calibri" panose="020F0502020204030204" pitchFamily="34" charset="0"/>
              </a:rPr>
              <a:t>Supported:</a:t>
            </a:r>
          </a:p>
          <a:p>
            <a:pPr marL="117475" defTabSz="914363">
              <a:spcBef>
                <a:spcPts val="600"/>
              </a:spcBef>
              <a:spcAft>
                <a:spcPts val="2400"/>
              </a:spcAft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Community &amp; commercial </a:t>
            </a:r>
            <a:b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distributions including</a:t>
            </a:r>
          </a:p>
          <a:p>
            <a:pPr marL="117475" defTabSz="914363">
              <a:spcBef>
                <a:spcPts val="600"/>
              </a:spcBef>
              <a:spcAft>
                <a:spcPts val="1200"/>
              </a:spcAft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Library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Images: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457182" lvl="1" defTabSz="914363">
              <a:spcAft>
                <a:spcPts val="1200"/>
              </a:spcAft>
              <a:buSzPct val="85000"/>
            </a:pPr>
            <a:r>
              <a:rPr lang="en-US" sz="2000" dirty="0" err="1">
                <a:solidFill>
                  <a:schemeClr val="bg1"/>
                </a:solidFill>
                <a:latin typeface="Calibri" panose="020F0502020204030204" pitchFamily="34" charset="0"/>
              </a:rPr>
              <a:t>SUSE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Linux </a:t>
            </a:r>
            <a:r>
              <a:rPr lang="en-US" sz="1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(</a:t>
            </a:r>
            <a:r>
              <a:rPr lang="en-US" sz="14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USE</a:t>
            </a:r>
            <a:r>
              <a:rPr lang="en-US" sz="1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Linux Enterprise Server </a:t>
            </a:r>
            <a:r>
              <a:rPr lang="en-US" sz="14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P2</a:t>
            </a:r>
            <a:r>
              <a:rPr lang="en-US" sz="1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&amp; </a:t>
            </a:r>
            <a:r>
              <a:rPr lang="en-US" sz="14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penSuse</a:t>
            </a:r>
            <a:r>
              <a:rPr lang="en-US" sz="1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12.1)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457182" lvl="1" defTabSz="914363">
              <a:lnSpc>
                <a:spcPts val="3000"/>
              </a:lnSpc>
              <a:spcAft>
                <a:spcPts val="1200"/>
              </a:spcAft>
              <a:buSzPct val="85000"/>
            </a:pPr>
            <a:r>
              <a:rPr lang="en-US" sz="20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entOS</a:t>
            </a: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(</a:t>
            </a:r>
            <a:r>
              <a:rPr lang="en-US" sz="14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entOS</a:t>
            </a:r>
            <a:r>
              <a:rPr lang="en-US" sz="1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6.2)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457182" lvl="1" defTabSz="914363">
              <a:lnSpc>
                <a:spcPts val="3000"/>
              </a:lnSpc>
              <a:spcAft>
                <a:spcPts val="1200"/>
              </a:spcAft>
              <a:buSzPct val="85000"/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Ubuntu </a:t>
            </a: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</a:rPr>
              <a:t>(</a:t>
            </a:r>
            <a:r>
              <a:rPr lang="en-US" sz="1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Ubuntu 12.04)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1402242" y="1992196"/>
            <a:ext cx="3134363" cy="4306497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182880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363">
              <a:spcBef>
                <a:spcPts val="1800"/>
              </a:spcBef>
              <a:spcAft>
                <a:spcPts val="1200"/>
              </a:spcAft>
            </a:pPr>
            <a:r>
              <a:rPr lang="en-US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upported:</a:t>
            </a:r>
          </a:p>
          <a:p>
            <a:pPr marL="457182" lvl="1" defTabSz="914363"/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Windows Server 2008 </a:t>
            </a:r>
            <a:r>
              <a:rPr lang="en-US" sz="16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R2</a:t>
            </a:r>
            <a:endParaRPr lang="en-US" sz="16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457182" lvl="1" defTabSz="914363"/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64-bit</a:t>
            </a:r>
          </a:p>
          <a:p>
            <a:pPr defTabSz="914363">
              <a:spcBef>
                <a:spcPts val="2400"/>
              </a:spcBef>
              <a:spcAft>
                <a:spcPts val="1200"/>
              </a:spcAft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Library Images:</a:t>
            </a:r>
          </a:p>
          <a:p>
            <a:pPr marL="457182" lvl="1" defTabSz="914363">
              <a:spcAft>
                <a:spcPts val="1200"/>
              </a:spcAft>
              <a:buSzPct val="85000"/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Windows Server 2008 </a:t>
            </a:r>
            <a:r>
              <a:rPr lang="en-US" sz="16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R2</a:t>
            </a:r>
            <a:endParaRPr lang="en-US" sz="16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457182" lvl="1" defTabSz="914363">
              <a:spcAft>
                <a:spcPts val="1200"/>
              </a:spcAft>
              <a:buSzPct val="85000"/>
            </a:pPr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Windows Server 2012 RC</a:t>
            </a:r>
            <a:endParaRPr lang="en-US" sz="16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457182" lvl="1" defTabSz="914363">
              <a:spcAft>
                <a:spcPts val="600"/>
              </a:spcAft>
              <a:buSzPct val="85000"/>
            </a:pPr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Windows Server 2008 </a:t>
            </a:r>
            <a:r>
              <a:rPr lang="en-US" sz="16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R2</a:t>
            </a:r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with SQL Server 2008 or 2012 (Available at GA. Only SQL Server 2012 </a:t>
            </a:r>
            <a:r>
              <a:rPr lang="en-US" sz="16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Eval</a:t>
            </a:r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available at Preview))</a:t>
            </a:r>
          </a:p>
          <a:p>
            <a:pPr defTabSz="914363">
              <a:spcAft>
                <a:spcPts val="2400"/>
              </a:spcAft>
            </a:pPr>
            <a:endParaRPr lang="en-US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480638" y="2196873"/>
            <a:ext cx="816950" cy="58405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  <a14:imgEffect>
                      <a14:colorTemperature colorTemp="6625"/>
                    </a14:imgEffect>
                    <a14:imgEffect>
                      <a14:saturation sa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7673" y="2096073"/>
            <a:ext cx="523344" cy="684856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8107674" y="2915186"/>
            <a:ext cx="54662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Linux</a:t>
            </a:r>
            <a:endParaRPr lang="en-US" sz="20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3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0"/>
            <a:ext cx="9144001" cy="1512000"/>
          </a:xfrm>
        </p:spPr>
        <p:txBody>
          <a:bodyPr>
            <a:no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How it Works</a:t>
            </a:r>
            <a:b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</a:br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Select from Image </a:t>
            </a:r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Gallery</a:t>
            </a:r>
            <a:endParaRPr lang="en-US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99" name="Curved Up Arrow 98"/>
          <p:cNvSpPr/>
          <p:nvPr/>
        </p:nvSpPr>
        <p:spPr bwMode="auto">
          <a:xfrm flipH="1">
            <a:off x="5727124" y="5208335"/>
            <a:ext cx="2411113" cy="906291"/>
          </a:xfrm>
          <a:prstGeom prst="curvedUp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184153" y="4217550"/>
            <a:ext cx="1312539" cy="8032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Create new </a:t>
            </a:r>
            <a:b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</a:b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VM from</a:t>
            </a:r>
          </a:p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image gallery</a:t>
            </a:r>
            <a:endParaRPr lang="en-US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27" name="Up Arrow 26"/>
          <p:cNvSpPr/>
          <p:nvPr/>
        </p:nvSpPr>
        <p:spPr bwMode="auto">
          <a:xfrm rot="5400000">
            <a:off x="2286916" y="2981104"/>
            <a:ext cx="1038703" cy="770313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</a:endParaRPr>
          </a:p>
        </p:txBody>
      </p:sp>
      <p:sp>
        <p:nvSpPr>
          <p:cNvPr id="28" name="Up Arrow 27"/>
          <p:cNvSpPr/>
          <p:nvPr/>
        </p:nvSpPr>
        <p:spPr bwMode="auto">
          <a:xfrm rot="5400000">
            <a:off x="4355226" y="2981104"/>
            <a:ext cx="1038703" cy="770313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</a:endParaRPr>
          </a:p>
        </p:txBody>
      </p:sp>
      <p:sp>
        <p:nvSpPr>
          <p:cNvPr id="29" name="Freeform 79"/>
          <p:cNvSpPr>
            <a:spLocks noEditPoints="1"/>
          </p:cNvSpPr>
          <p:nvPr/>
        </p:nvSpPr>
        <p:spPr bwMode="black">
          <a:xfrm>
            <a:off x="5496730" y="2650746"/>
            <a:ext cx="794120" cy="1431029"/>
          </a:xfrm>
          <a:custGeom>
            <a:avLst/>
            <a:gdLst>
              <a:gd name="T0" fmla="*/ 1441 w 1615"/>
              <a:gd name="T1" fmla="*/ 131 h 2179"/>
              <a:gd name="T2" fmla="*/ 1344 w 1615"/>
              <a:gd name="T3" fmla="*/ 16 h 2179"/>
              <a:gd name="T4" fmla="*/ 306 w 1615"/>
              <a:gd name="T5" fmla="*/ 0 h 2179"/>
              <a:gd name="T6" fmla="*/ 62 w 1615"/>
              <a:gd name="T7" fmla="*/ 171 h 2179"/>
              <a:gd name="T8" fmla="*/ 174 w 1615"/>
              <a:gd name="T9" fmla="*/ 131 h 2179"/>
              <a:gd name="T10" fmla="*/ 174 w 1615"/>
              <a:gd name="T11" fmla="*/ 180 h 2179"/>
              <a:gd name="T12" fmla="*/ 0 w 1615"/>
              <a:gd name="T13" fmla="*/ 2005 h 2179"/>
              <a:gd name="T14" fmla="*/ 1441 w 1615"/>
              <a:gd name="T15" fmla="*/ 2179 h 2179"/>
              <a:gd name="T16" fmla="*/ 1615 w 1615"/>
              <a:gd name="T17" fmla="*/ 354 h 2179"/>
              <a:gd name="T18" fmla="*/ 1518 w 1615"/>
              <a:gd name="T19" fmla="*/ 2005 h 2179"/>
              <a:gd name="T20" fmla="*/ 174 w 1615"/>
              <a:gd name="T21" fmla="*/ 2082 h 2179"/>
              <a:gd name="T22" fmla="*/ 97 w 1615"/>
              <a:gd name="T23" fmla="*/ 354 h 2179"/>
              <a:gd name="T24" fmla="*/ 1441 w 1615"/>
              <a:gd name="T25" fmla="*/ 277 h 2179"/>
              <a:gd name="T26" fmla="*/ 1518 w 1615"/>
              <a:gd name="T27" fmla="*/ 2005 h 2179"/>
              <a:gd name="T28" fmla="*/ 241 w 1615"/>
              <a:gd name="T29" fmla="*/ 1038 h 2179"/>
              <a:gd name="T30" fmla="*/ 532 w 1615"/>
              <a:gd name="T31" fmla="*/ 1339 h 2179"/>
              <a:gd name="T32" fmla="*/ 713 w 1615"/>
              <a:gd name="T33" fmla="*/ 1304 h 2179"/>
              <a:gd name="T34" fmla="*/ 695 w 1615"/>
              <a:gd name="T35" fmla="*/ 1594 h 2179"/>
              <a:gd name="T36" fmla="*/ 1375 w 1615"/>
              <a:gd name="T37" fmla="*/ 1038 h 2179"/>
              <a:gd name="T38" fmla="*/ 808 w 1615"/>
              <a:gd name="T39" fmla="*/ 1206 h 2179"/>
              <a:gd name="T40" fmla="*/ 808 w 1615"/>
              <a:gd name="T41" fmla="*/ 870 h 2179"/>
              <a:gd name="T42" fmla="*/ 808 w 1615"/>
              <a:gd name="T43" fmla="*/ 1206 h 2179"/>
              <a:gd name="T44" fmla="*/ 652 w 1615"/>
              <a:gd name="T45" fmla="*/ 1331 h 2179"/>
              <a:gd name="T46" fmla="*/ 453 w 1615"/>
              <a:gd name="T47" fmla="*/ 1481 h 2179"/>
              <a:gd name="T48" fmla="*/ 258 w 1615"/>
              <a:gd name="T49" fmla="*/ 1960 h 2179"/>
              <a:gd name="T50" fmla="*/ 534 w 1615"/>
              <a:gd name="T51" fmla="*/ 1842 h 2179"/>
              <a:gd name="T52" fmla="*/ 702 w 1615"/>
              <a:gd name="T53" fmla="*/ 1467 h 2179"/>
              <a:gd name="T54" fmla="*/ 418 w 1615"/>
              <a:gd name="T55" fmla="*/ 1872 h 2179"/>
              <a:gd name="T56" fmla="*/ 284 w 1615"/>
              <a:gd name="T57" fmla="*/ 1780 h 2179"/>
              <a:gd name="T58" fmla="*/ 418 w 1615"/>
              <a:gd name="T59" fmla="*/ 1872 h 2179"/>
              <a:gd name="T60" fmla="*/ 204 w 1615"/>
              <a:gd name="T61" fmla="*/ 323 h 2179"/>
              <a:gd name="T62" fmla="*/ 204 w 1615"/>
              <a:gd name="T63" fmla="*/ 428 h 2179"/>
              <a:gd name="T64" fmla="*/ 1418 w 1615"/>
              <a:gd name="T65" fmla="*/ 323 h 2179"/>
              <a:gd name="T66" fmla="*/ 1418 w 1615"/>
              <a:gd name="T67" fmla="*/ 428 h 2179"/>
              <a:gd name="T68" fmla="*/ 1418 w 1615"/>
              <a:gd name="T69" fmla="*/ 323 h 2179"/>
              <a:gd name="T70" fmla="*/ 1366 w 1615"/>
              <a:gd name="T71" fmla="*/ 1978 h 2179"/>
              <a:gd name="T72" fmla="*/ 1471 w 1615"/>
              <a:gd name="T73" fmla="*/ 1978 h 2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615" h="2179">
                <a:moveTo>
                  <a:pt x="174" y="131"/>
                </a:moveTo>
                <a:cubicBezTo>
                  <a:pt x="1441" y="131"/>
                  <a:pt x="1441" y="131"/>
                  <a:pt x="1441" y="131"/>
                </a:cubicBezTo>
                <a:cubicBezTo>
                  <a:pt x="1465" y="131"/>
                  <a:pt x="1488" y="136"/>
                  <a:pt x="1509" y="145"/>
                </a:cubicBezTo>
                <a:cubicBezTo>
                  <a:pt x="1344" y="16"/>
                  <a:pt x="1344" y="16"/>
                  <a:pt x="1344" y="16"/>
                </a:cubicBezTo>
                <a:cubicBezTo>
                  <a:pt x="1333" y="7"/>
                  <a:pt x="1312" y="0"/>
                  <a:pt x="1298" y="0"/>
                </a:cubicBezTo>
                <a:cubicBezTo>
                  <a:pt x="306" y="0"/>
                  <a:pt x="306" y="0"/>
                  <a:pt x="306" y="0"/>
                </a:cubicBezTo>
                <a:cubicBezTo>
                  <a:pt x="292" y="0"/>
                  <a:pt x="271" y="7"/>
                  <a:pt x="260" y="16"/>
                </a:cubicBezTo>
                <a:cubicBezTo>
                  <a:pt x="62" y="171"/>
                  <a:pt x="62" y="171"/>
                  <a:pt x="62" y="171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94" y="146"/>
                  <a:pt x="132" y="131"/>
                  <a:pt x="174" y="131"/>
                </a:cubicBezTo>
                <a:close/>
                <a:moveTo>
                  <a:pt x="1441" y="180"/>
                </a:moveTo>
                <a:cubicBezTo>
                  <a:pt x="174" y="180"/>
                  <a:pt x="174" y="180"/>
                  <a:pt x="174" y="180"/>
                </a:cubicBezTo>
                <a:cubicBezTo>
                  <a:pt x="78" y="180"/>
                  <a:pt x="0" y="258"/>
                  <a:pt x="0" y="354"/>
                </a:cubicBezTo>
                <a:cubicBezTo>
                  <a:pt x="0" y="2005"/>
                  <a:pt x="0" y="2005"/>
                  <a:pt x="0" y="2005"/>
                </a:cubicBezTo>
                <a:cubicBezTo>
                  <a:pt x="0" y="2101"/>
                  <a:pt x="78" y="2179"/>
                  <a:pt x="174" y="2179"/>
                </a:cubicBezTo>
                <a:cubicBezTo>
                  <a:pt x="1441" y="2179"/>
                  <a:pt x="1441" y="2179"/>
                  <a:pt x="1441" y="2179"/>
                </a:cubicBezTo>
                <a:cubicBezTo>
                  <a:pt x="1537" y="2179"/>
                  <a:pt x="1615" y="2101"/>
                  <a:pt x="1615" y="2005"/>
                </a:cubicBezTo>
                <a:cubicBezTo>
                  <a:pt x="1615" y="354"/>
                  <a:pt x="1615" y="354"/>
                  <a:pt x="1615" y="354"/>
                </a:cubicBezTo>
                <a:cubicBezTo>
                  <a:pt x="1615" y="258"/>
                  <a:pt x="1537" y="180"/>
                  <a:pt x="1441" y="180"/>
                </a:cubicBezTo>
                <a:close/>
                <a:moveTo>
                  <a:pt x="1518" y="2005"/>
                </a:moveTo>
                <a:cubicBezTo>
                  <a:pt x="1518" y="2047"/>
                  <a:pt x="1484" y="2082"/>
                  <a:pt x="1441" y="2082"/>
                </a:cubicBezTo>
                <a:cubicBezTo>
                  <a:pt x="174" y="2082"/>
                  <a:pt x="174" y="2082"/>
                  <a:pt x="174" y="2082"/>
                </a:cubicBezTo>
                <a:cubicBezTo>
                  <a:pt x="132" y="2082"/>
                  <a:pt x="97" y="2047"/>
                  <a:pt x="97" y="2005"/>
                </a:cubicBezTo>
                <a:cubicBezTo>
                  <a:pt x="97" y="354"/>
                  <a:pt x="97" y="354"/>
                  <a:pt x="97" y="354"/>
                </a:cubicBezTo>
                <a:cubicBezTo>
                  <a:pt x="97" y="312"/>
                  <a:pt x="132" y="277"/>
                  <a:pt x="174" y="277"/>
                </a:cubicBezTo>
                <a:cubicBezTo>
                  <a:pt x="1441" y="277"/>
                  <a:pt x="1441" y="277"/>
                  <a:pt x="1441" y="277"/>
                </a:cubicBezTo>
                <a:cubicBezTo>
                  <a:pt x="1484" y="277"/>
                  <a:pt x="1518" y="312"/>
                  <a:pt x="1518" y="354"/>
                </a:cubicBezTo>
                <a:lnTo>
                  <a:pt x="1518" y="2005"/>
                </a:lnTo>
                <a:close/>
                <a:moveTo>
                  <a:pt x="808" y="471"/>
                </a:moveTo>
                <a:cubicBezTo>
                  <a:pt x="494" y="471"/>
                  <a:pt x="241" y="725"/>
                  <a:pt x="241" y="1038"/>
                </a:cubicBezTo>
                <a:cubicBezTo>
                  <a:pt x="241" y="1201"/>
                  <a:pt x="309" y="1347"/>
                  <a:pt x="419" y="1451"/>
                </a:cubicBezTo>
                <a:cubicBezTo>
                  <a:pt x="532" y="1339"/>
                  <a:pt x="532" y="1339"/>
                  <a:pt x="532" y="1339"/>
                </a:cubicBezTo>
                <a:cubicBezTo>
                  <a:pt x="565" y="1305"/>
                  <a:pt x="610" y="1286"/>
                  <a:pt x="652" y="1286"/>
                </a:cubicBezTo>
                <a:cubicBezTo>
                  <a:pt x="675" y="1286"/>
                  <a:pt x="696" y="1292"/>
                  <a:pt x="713" y="1304"/>
                </a:cubicBezTo>
                <a:cubicBezTo>
                  <a:pt x="762" y="1337"/>
                  <a:pt x="775" y="1416"/>
                  <a:pt x="744" y="1486"/>
                </a:cubicBezTo>
                <a:cubicBezTo>
                  <a:pt x="695" y="1594"/>
                  <a:pt x="695" y="1594"/>
                  <a:pt x="695" y="1594"/>
                </a:cubicBezTo>
                <a:cubicBezTo>
                  <a:pt x="731" y="1601"/>
                  <a:pt x="769" y="1605"/>
                  <a:pt x="808" y="1605"/>
                </a:cubicBezTo>
                <a:cubicBezTo>
                  <a:pt x="1121" y="1605"/>
                  <a:pt x="1375" y="1351"/>
                  <a:pt x="1375" y="1038"/>
                </a:cubicBezTo>
                <a:cubicBezTo>
                  <a:pt x="1375" y="725"/>
                  <a:pt x="1121" y="471"/>
                  <a:pt x="808" y="471"/>
                </a:cubicBezTo>
                <a:close/>
                <a:moveTo>
                  <a:pt x="808" y="1206"/>
                </a:moveTo>
                <a:cubicBezTo>
                  <a:pt x="715" y="1206"/>
                  <a:pt x="640" y="1131"/>
                  <a:pt x="640" y="1038"/>
                </a:cubicBezTo>
                <a:cubicBezTo>
                  <a:pt x="640" y="945"/>
                  <a:pt x="715" y="870"/>
                  <a:pt x="808" y="870"/>
                </a:cubicBezTo>
                <a:cubicBezTo>
                  <a:pt x="900" y="870"/>
                  <a:pt x="976" y="945"/>
                  <a:pt x="976" y="1038"/>
                </a:cubicBezTo>
                <a:cubicBezTo>
                  <a:pt x="976" y="1131"/>
                  <a:pt x="900" y="1206"/>
                  <a:pt x="808" y="1206"/>
                </a:cubicBezTo>
                <a:close/>
                <a:moveTo>
                  <a:pt x="687" y="1341"/>
                </a:moveTo>
                <a:cubicBezTo>
                  <a:pt x="678" y="1334"/>
                  <a:pt x="665" y="1331"/>
                  <a:pt x="652" y="1331"/>
                </a:cubicBezTo>
                <a:cubicBezTo>
                  <a:pt x="623" y="1331"/>
                  <a:pt x="590" y="1345"/>
                  <a:pt x="564" y="1371"/>
                </a:cubicBezTo>
                <a:cubicBezTo>
                  <a:pt x="453" y="1481"/>
                  <a:pt x="453" y="1481"/>
                  <a:pt x="453" y="1481"/>
                </a:cubicBezTo>
                <a:cubicBezTo>
                  <a:pt x="271" y="1660"/>
                  <a:pt x="271" y="1660"/>
                  <a:pt x="271" y="1660"/>
                </a:cubicBezTo>
                <a:cubicBezTo>
                  <a:pt x="170" y="1760"/>
                  <a:pt x="164" y="1895"/>
                  <a:pt x="258" y="1960"/>
                </a:cubicBezTo>
                <a:cubicBezTo>
                  <a:pt x="286" y="1979"/>
                  <a:pt x="315" y="1988"/>
                  <a:pt x="346" y="1988"/>
                </a:cubicBezTo>
                <a:cubicBezTo>
                  <a:pt x="419" y="1988"/>
                  <a:pt x="493" y="1935"/>
                  <a:pt x="534" y="1842"/>
                </a:cubicBezTo>
                <a:cubicBezTo>
                  <a:pt x="650" y="1583"/>
                  <a:pt x="650" y="1583"/>
                  <a:pt x="650" y="1583"/>
                </a:cubicBezTo>
                <a:cubicBezTo>
                  <a:pt x="702" y="1467"/>
                  <a:pt x="702" y="1467"/>
                  <a:pt x="702" y="1467"/>
                </a:cubicBezTo>
                <a:cubicBezTo>
                  <a:pt x="724" y="1418"/>
                  <a:pt x="717" y="1362"/>
                  <a:pt x="687" y="1341"/>
                </a:cubicBezTo>
                <a:close/>
                <a:moveTo>
                  <a:pt x="418" y="1872"/>
                </a:moveTo>
                <a:cubicBezTo>
                  <a:pt x="392" y="1909"/>
                  <a:pt x="341" y="1919"/>
                  <a:pt x="304" y="1893"/>
                </a:cubicBezTo>
                <a:cubicBezTo>
                  <a:pt x="267" y="1867"/>
                  <a:pt x="258" y="1817"/>
                  <a:pt x="284" y="1780"/>
                </a:cubicBezTo>
                <a:cubicBezTo>
                  <a:pt x="310" y="1743"/>
                  <a:pt x="360" y="1734"/>
                  <a:pt x="397" y="1759"/>
                </a:cubicBezTo>
                <a:cubicBezTo>
                  <a:pt x="434" y="1785"/>
                  <a:pt x="443" y="1836"/>
                  <a:pt x="418" y="1872"/>
                </a:cubicBezTo>
                <a:close/>
                <a:moveTo>
                  <a:pt x="256" y="376"/>
                </a:moveTo>
                <a:cubicBezTo>
                  <a:pt x="256" y="346"/>
                  <a:pt x="233" y="323"/>
                  <a:pt x="204" y="323"/>
                </a:cubicBezTo>
                <a:cubicBezTo>
                  <a:pt x="174" y="323"/>
                  <a:pt x="151" y="346"/>
                  <a:pt x="151" y="376"/>
                </a:cubicBezTo>
                <a:cubicBezTo>
                  <a:pt x="151" y="405"/>
                  <a:pt x="174" y="428"/>
                  <a:pt x="204" y="428"/>
                </a:cubicBezTo>
                <a:cubicBezTo>
                  <a:pt x="233" y="428"/>
                  <a:pt x="256" y="405"/>
                  <a:pt x="256" y="376"/>
                </a:cubicBezTo>
                <a:close/>
                <a:moveTo>
                  <a:pt x="1418" y="323"/>
                </a:moveTo>
                <a:cubicBezTo>
                  <a:pt x="1389" y="323"/>
                  <a:pt x="1366" y="346"/>
                  <a:pt x="1366" y="376"/>
                </a:cubicBezTo>
                <a:cubicBezTo>
                  <a:pt x="1366" y="405"/>
                  <a:pt x="1389" y="428"/>
                  <a:pt x="1418" y="428"/>
                </a:cubicBezTo>
                <a:cubicBezTo>
                  <a:pt x="1448" y="428"/>
                  <a:pt x="1471" y="405"/>
                  <a:pt x="1471" y="376"/>
                </a:cubicBezTo>
                <a:cubicBezTo>
                  <a:pt x="1471" y="346"/>
                  <a:pt x="1448" y="323"/>
                  <a:pt x="1418" y="323"/>
                </a:cubicBezTo>
                <a:close/>
                <a:moveTo>
                  <a:pt x="1418" y="1925"/>
                </a:moveTo>
                <a:cubicBezTo>
                  <a:pt x="1389" y="1925"/>
                  <a:pt x="1366" y="1949"/>
                  <a:pt x="1366" y="1978"/>
                </a:cubicBezTo>
                <a:cubicBezTo>
                  <a:pt x="1366" y="2007"/>
                  <a:pt x="1389" y="2031"/>
                  <a:pt x="1418" y="2031"/>
                </a:cubicBezTo>
                <a:cubicBezTo>
                  <a:pt x="1448" y="2031"/>
                  <a:pt x="1471" y="2007"/>
                  <a:pt x="1471" y="1978"/>
                </a:cubicBezTo>
                <a:cubicBezTo>
                  <a:pt x="1471" y="1949"/>
                  <a:pt x="1448" y="1925"/>
                  <a:pt x="1418" y="192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pPr defTabSz="914363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0" name="Up Arrow 29"/>
          <p:cNvSpPr/>
          <p:nvPr/>
        </p:nvSpPr>
        <p:spPr bwMode="auto">
          <a:xfrm rot="5400000">
            <a:off x="6393651" y="2981104"/>
            <a:ext cx="1038703" cy="770313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067177" y="4217551"/>
            <a:ext cx="2076824" cy="9971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>
                <a:solidFill>
                  <a:schemeClr val="bg1"/>
                </a:solidFill>
                <a:latin typeface="Segoe UI Light" pitchFamily="34" charset="0"/>
              </a:rPr>
              <a:t>V</a:t>
            </a: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irtual Machine booted. Changes copied </a:t>
            </a:r>
            <a:b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</a:b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to blob storage</a:t>
            </a:r>
            <a:endParaRPr lang="en-US" dirty="0">
              <a:solidFill>
                <a:schemeClr val="bg1"/>
              </a:solidFill>
              <a:latin typeface="Segoe UI Light" pitchFamily="34" charset="0"/>
            </a:endParaRPr>
          </a:p>
        </p:txBody>
      </p:sp>
      <p:grpSp>
        <p:nvGrpSpPr>
          <p:cNvPr id="32" name="Group 31"/>
          <p:cNvGrpSpPr>
            <a:grpSpLocks noChangeAspect="1"/>
          </p:cNvGrpSpPr>
          <p:nvPr/>
        </p:nvGrpSpPr>
        <p:grpSpPr bwMode="black">
          <a:xfrm>
            <a:off x="389436" y="2645947"/>
            <a:ext cx="1794677" cy="1440627"/>
            <a:chOff x="8843608" y="828600"/>
            <a:chExt cx="925448" cy="557448"/>
          </a:xfrm>
          <a:solidFill>
            <a:schemeClr val="tx2"/>
          </a:solidFill>
        </p:grpSpPr>
        <p:sp>
          <p:nvSpPr>
            <p:cNvPr id="33" name="Rectangle 32"/>
            <p:cNvSpPr/>
            <p:nvPr/>
          </p:nvSpPr>
          <p:spPr bwMode="black">
            <a:xfrm>
              <a:off x="8857595" y="835151"/>
              <a:ext cx="623646" cy="45963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22781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grpSp>
          <p:nvGrpSpPr>
            <p:cNvPr id="34" name="Group 33"/>
            <p:cNvGrpSpPr/>
            <p:nvPr/>
          </p:nvGrpSpPr>
          <p:grpSpPr bwMode="black">
            <a:xfrm>
              <a:off x="8843608" y="828600"/>
              <a:ext cx="925448" cy="557448"/>
              <a:chOff x="863600" y="2393157"/>
              <a:chExt cx="876300" cy="527844"/>
            </a:xfrm>
            <a:grpFill/>
          </p:grpSpPr>
          <p:sp>
            <p:nvSpPr>
              <p:cNvPr id="35" name="Freeform 34"/>
              <p:cNvSpPr>
                <a:spLocks noEditPoints="1"/>
              </p:cNvSpPr>
              <p:nvPr/>
            </p:nvSpPr>
            <p:spPr bwMode="black">
              <a:xfrm>
                <a:off x="1521931" y="2481334"/>
                <a:ext cx="217969" cy="439667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z="1800" spc="-122" dirty="0">
                  <a:solidFill>
                    <a:schemeClr val="bg1"/>
                  </a:solidFill>
                  <a:latin typeface="Segoe Light" pitchFamily="34" charset="0"/>
                </a:endParaRPr>
              </a:p>
            </p:txBody>
          </p:sp>
          <p:sp>
            <p:nvSpPr>
              <p:cNvPr id="36" name="Freeform 88"/>
              <p:cNvSpPr>
                <a:spLocks noEditPoints="1"/>
              </p:cNvSpPr>
              <p:nvPr/>
            </p:nvSpPr>
            <p:spPr bwMode="black">
              <a:xfrm>
                <a:off x="863600" y="2393157"/>
                <a:ext cx="622300" cy="527844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z="1800" spc="-122" dirty="0">
                  <a:solidFill>
                    <a:schemeClr val="bg1"/>
                  </a:solidFill>
                  <a:latin typeface="Segoe Light" pitchFamily="34" charset="0"/>
                </a:endParaRPr>
              </a:p>
            </p:txBody>
          </p:sp>
        </p:grpSp>
      </p:grpSp>
      <p:pic>
        <p:nvPicPr>
          <p:cNvPr id="37" name="Picture 3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155" y="3018983"/>
            <a:ext cx="1206166" cy="694552"/>
          </a:xfrm>
          <a:prstGeom prst="roundRect">
            <a:avLst>
              <a:gd name="adj" fmla="val 11234"/>
            </a:avLst>
          </a:prstGeom>
          <a:solidFill>
            <a:schemeClr val="tx2"/>
          </a:solidFill>
          <a:ln w="63500">
            <a:solidFill>
              <a:schemeClr val="tx2"/>
            </a:solidFill>
          </a:ln>
          <a:effectLst/>
        </p:spPr>
      </p:pic>
      <p:sp>
        <p:nvSpPr>
          <p:cNvPr id="38" name="Freeform 79"/>
          <p:cNvSpPr>
            <a:spLocks noEditPoints="1"/>
          </p:cNvSpPr>
          <p:nvPr/>
        </p:nvSpPr>
        <p:spPr bwMode="black">
          <a:xfrm rot="16200000">
            <a:off x="3397845" y="2858956"/>
            <a:ext cx="885154" cy="824004"/>
          </a:xfrm>
          <a:custGeom>
            <a:avLst/>
            <a:gdLst>
              <a:gd name="T0" fmla="*/ 277 w 277"/>
              <a:gd name="T1" fmla="*/ 171 h 344"/>
              <a:gd name="T2" fmla="*/ 277 w 277"/>
              <a:gd name="T3" fmla="*/ 251 h 344"/>
              <a:gd name="T4" fmla="*/ 274 w 277"/>
              <a:gd name="T5" fmla="*/ 258 h 344"/>
              <a:gd name="T6" fmla="*/ 251 w 277"/>
              <a:gd name="T7" fmla="*/ 280 h 344"/>
              <a:gd name="T8" fmla="*/ 251 w 277"/>
              <a:gd name="T9" fmla="*/ 295 h 344"/>
              <a:gd name="T10" fmla="*/ 248 w 277"/>
              <a:gd name="T11" fmla="*/ 302 h 344"/>
              <a:gd name="T12" fmla="*/ 241 w 277"/>
              <a:gd name="T13" fmla="*/ 305 h 344"/>
              <a:gd name="T14" fmla="*/ 10 w 277"/>
              <a:gd name="T15" fmla="*/ 305 h 344"/>
              <a:gd name="T16" fmla="*/ 3 w 277"/>
              <a:gd name="T17" fmla="*/ 302 h 344"/>
              <a:gd name="T18" fmla="*/ 0 w 277"/>
              <a:gd name="T19" fmla="*/ 295 h 344"/>
              <a:gd name="T20" fmla="*/ 0 w 277"/>
              <a:gd name="T21" fmla="*/ 9 h 344"/>
              <a:gd name="T22" fmla="*/ 3 w 277"/>
              <a:gd name="T23" fmla="*/ 2 h 344"/>
              <a:gd name="T24" fmla="*/ 10 w 277"/>
              <a:gd name="T25" fmla="*/ 0 h 344"/>
              <a:gd name="T26" fmla="*/ 241 w 277"/>
              <a:gd name="T27" fmla="*/ 0 h 344"/>
              <a:gd name="T28" fmla="*/ 248 w 277"/>
              <a:gd name="T29" fmla="*/ 2 h 344"/>
              <a:gd name="T30" fmla="*/ 251 w 277"/>
              <a:gd name="T31" fmla="*/ 9 h 344"/>
              <a:gd name="T32" fmla="*/ 251 w 277"/>
              <a:gd name="T33" fmla="*/ 143 h 344"/>
              <a:gd name="T34" fmla="*/ 274 w 277"/>
              <a:gd name="T35" fmla="*/ 164 h 344"/>
              <a:gd name="T36" fmla="*/ 277 w 277"/>
              <a:gd name="T37" fmla="*/ 171 h 344"/>
              <a:gd name="T38" fmla="*/ 3 w 277"/>
              <a:gd name="T39" fmla="*/ 2 h 344"/>
              <a:gd name="T40" fmla="*/ 0 w 277"/>
              <a:gd name="T41" fmla="*/ 9 h 344"/>
              <a:gd name="T42" fmla="*/ 0 w 277"/>
              <a:gd name="T43" fmla="*/ 295 h 344"/>
              <a:gd name="T44" fmla="*/ 3 w 277"/>
              <a:gd name="T45" fmla="*/ 302 h 344"/>
              <a:gd name="T46" fmla="*/ 10 w 277"/>
              <a:gd name="T47" fmla="*/ 305 h 344"/>
              <a:gd name="T48" fmla="*/ 199 w 277"/>
              <a:gd name="T49" fmla="*/ 305 h 344"/>
              <a:gd name="T50" fmla="*/ 199 w 277"/>
              <a:gd name="T51" fmla="*/ 191 h 344"/>
              <a:gd name="T52" fmla="*/ 216 w 277"/>
              <a:gd name="T53" fmla="*/ 171 h 344"/>
              <a:gd name="T54" fmla="*/ 222 w 277"/>
              <a:gd name="T55" fmla="*/ 155 h 344"/>
              <a:gd name="T56" fmla="*/ 222 w 277"/>
              <a:gd name="T57" fmla="*/ 56 h 344"/>
              <a:gd name="T58" fmla="*/ 202 w 277"/>
              <a:gd name="T59" fmla="*/ 32 h 344"/>
              <a:gd name="T60" fmla="*/ 31 w 277"/>
              <a:gd name="T61" fmla="*/ 0 h 344"/>
              <a:gd name="T62" fmla="*/ 10 w 277"/>
              <a:gd name="T63" fmla="*/ 0 h 344"/>
              <a:gd name="T64" fmla="*/ 3 w 277"/>
              <a:gd name="T65" fmla="*/ 2 h 344"/>
              <a:gd name="T66" fmla="*/ 200 w 277"/>
              <a:gd name="T67" fmla="*/ 47 h 344"/>
              <a:gd name="T68" fmla="*/ 11 w 277"/>
              <a:gd name="T69" fmla="*/ 11 h 344"/>
              <a:gd name="T70" fmla="*/ 4 w 277"/>
              <a:gd name="T71" fmla="*/ 13 h 344"/>
              <a:gd name="T72" fmla="*/ 0 w 277"/>
              <a:gd name="T73" fmla="*/ 20 h 344"/>
              <a:gd name="T74" fmla="*/ 0 w 277"/>
              <a:gd name="T75" fmla="*/ 302 h 344"/>
              <a:gd name="T76" fmla="*/ 8 w 277"/>
              <a:gd name="T77" fmla="*/ 311 h 344"/>
              <a:gd name="T78" fmla="*/ 173 w 277"/>
              <a:gd name="T79" fmla="*/ 343 h 344"/>
              <a:gd name="T80" fmla="*/ 181 w 277"/>
              <a:gd name="T81" fmla="*/ 341 h 344"/>
              <a:gd name="T82" fmla="*/ 184 w 277"/>
              <a:gd name="T83" fmla="*/ 334 h 344"/>
              <a:gd name="T84" fmla="*/ 184 w 277"/>
              <a:gd name="T85" fmla="*/ 185 h 344"/>
              <a:gd name="T86" fmla="*/ 205 w 277"/>
              <a:gd name="T87" fmla="*/ 161 h 344"/>
              <a:gd name="T88" fmla="*/ 207 w 277"/>
              <a:gd name="T89" fmla="*/ 155 h 344"/>
              <a:gd name="T90" fmla="*/ 207 w 277"/>
              <a:gd name="T91" fmla="*/ 56 h 344"/>
              <a:gd name="T92" fmla="*/ 200 w 277"/>
              <a:gd name="T93" fmla="*/ 47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77" h="344">
                <a:moveTo>
                  <a:pt x="277" y="171"/>
                </a:moveTo>
                <a:cubicBezTo>
                  <a:pt x="277" y="251"/>
                  <a:pt x="277" y="251"/>
                  <a:pt x="277" y="251"/>
                </a:cubicBezTo>
                <a:cubicBezTo>
                  <a:pt x="277" y="254"/>
                  <a:pt x="276" y="256"/>
                  <a:pt x="274" y="258"/>
                </a:cubicBezTo>
                <a:cubicBezTo>
                  <a:pt x="251" y="280"/>
                  <a:pt x="251" y="280"/>
                  <a:pt x="251" y="280"/>
                </a:cubicBezTo>
                <a:cubicBezTo>
                  <a:pt x="251" y="295"/>
                  <a:pt x="251" y="295"/>
                  <a:pt x="251" y="295"/>
                </a:cubicBezTo>
                <a:cubicBezTo>
                  <a:pt x="251" y="298"/>
                  <a:pt x="250" y="300"/>
                  <a:pt x="248" y="302"/>
                </a:cubicBezTo>
                <a:cubicBezTo>
                  <a:pt x="246" y="304"/>
                  <a:pt x="244" y="305"/>
                  <a:pt x="241" y="305"/>
                </a:cubicBezTo>
                <a:cubicBezTo>
                  <a:pt x="10" y="305"/>
                  <a:pt x="10" y="305"/>
                  <a:pt x="10" y="305"/>
                </a:cubicBezTo>
                <a:cubicBezTo>
                  <a:pt x="7" y="305"/>
                  <a:pt x="5" y="304"/>
                  <a:pt x="3" y="302"/>
                </a:cubicBezTo>
                <a:cubicBezTo>
                  <a:pt x="1" y="300"/>
                  <a:pt x="0" y="298"/>
                  <a:pt x="0" y="295"/>
                </a:cubicBezTo>
                <a:cubicBezTo>
                  <a:pt x="0" y="9"/>
                  <a:pt x="0" y="9"/>
                  <a:pt x="0" y="9"/>
                </a:cubicBezTo>
                <a:cubicBezTo>
                  <a:pt x="0" y="6"/>
                  <a:pt x="1" y="4"/>
                  <a:pt x="3" y="2"/>
                </a:cubicBezTo>
                <a:cubicBezTo>
                  <a:pt x="5" y="1"/>
                  <a:pt x="7" y="0"/>
                  <a:pt x="10" y="0"/>
                </a:cubicBezTo>
                <a:cubicBezTo>
                  <a:pt x="241" y="0"/>
                  <a:pt x="241" y="0"/>
                  <a:pt x="241" y="0"/>
                </a:cubicBezTo>
                <a:cubicBezTo>
                  <a:pt x="244" y="0"/>
                  <a:pt x="246" y="1"/>
                  <a:pt x="248" y="2"/>
                </a:cubicBezTo>
                <a:cubicBezTo>
                  <a:pt x="250" y="4"/>
                  <a:pt x="251" y="6"/>
                  <a:pt x="251" y="9"/>
                </a:cubicBezTo>
                <a:cubicBezTo>
                  <a:pt x="251" y="143"/>
                  <a:pt x="251" y="143"/>
                  <a:pt x="251" y="143"/>
                </a:cubicBezTo>
                <a:cubicBezTo>
                  <a:pt x="274" y="164"/>
                  <a:pt x="274" y="164"/>
                  <a:pt x="274" y="164"/>
                </a:cubicBezTo>
                <a:cubicBezTo>
                  <a:pt x="276" y="166"/>
                  <a:pt x="277" y="169"/>
                  <a:pt x="277" y="171"/>
                </a:cubicBezTo>
                <a:close/>
                <a:moveTo>
                  <a:pt x="3" y="2"/>
                </a:moveTo>
                <a:cubicBezTo>
                  <a:pt x="1" y="4"/>
                  <a:pt x="0" y="6"/>
                  <a:pt x="0" y="9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298"/>
                  <a:pt x="1" y="300"/>
                  <a:pt x="3" y="302"/>
                </a:cubicBezTo>
                <a:cubicBezTo>
                  <a:pt x="5" y="304"/>
                  <a:pt x="7" y="305"/>
                  <a:pt x="10" y="305"/>
                </a:cubicBezTo>
                <a:cubicBezTo>
                  <a:pt x="199" y="305"/>
                  <a:pt x="199" y="305"/>
                  <a:pt x="199" y="305"/>
                </a:cubicBezTo>
                <a:cubicBezTo>
                  <a:pt x="199" y="191"/>
                  <a:pt x="199" y="191"/>
                  <a:pt x="199" y="191"/>
                </a:cubicBezTo>
                <a:cubicBezTo>
                  <a:pt x="204" y="185"/>
                  <a:pt x="216" y="171"/>
                  <a:pt x="216" y="171"/>
                </a:cubicBezTo>
                <a:cubicBezTo>
                  <a:pt x="220" y="166"/>
                  <a:pt x="222" y="161"/>
                  <a:pt x="222" y="155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22" y="44"/>
                  <a:pt x="214" y="35"/>
                  <a:pt x="202" y="32"/>
                </a:cubicBezTo>
                <a:cubicBezTo>
                  <a:pt x="31" y="0"/>
                  <a:pt x="31" y="0"/>
                  <a:pt x="31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7" y="0"/>
                  <a:pt x="5" y="1"/>
                  <a:pt x="3" y="2"/>
                </a:cubicBezTo>
                <a:close/>
                <a:moveTo>
                  <a:pt x="200" y="47"/>
                </a:moveTo>
                <a:cubicBezTo>
                  <a:pt x="11" y="11"/>
                  <a:pt x="11" y="11"/>
                  <a:pt x="11" y="11"/>
                </a:cubicBezTo>
                <a:cubicBezTo>
                  <a:pt x="9" y="10"/>
                  <a:pt x="6" y="11"/>
                  <a:pt x="4" y="13"/>
                </a:cubicBezTo>
                <a:cubicBezTo>
                  <a:pt x="2" y="14"/>
                  <a:pt x="0" y="17"/>
                  <a:pt x="0" y="20"/>
                </a:cubicBezTo>
                <a:cubicBezTo>
                  <a:pt x="0" y="302"/>
                  <a:pt x="0" y="302"/>
                  <a:pt x="0" y="302"/>
                </a:cubicBezTo>
                <a:cubicBezTo>
                  <a:pt x="0" y="307"/>
                  <a:pt x="4" y="311"/>
                  <a:pt x="8" y="311"/>
                </a:cubicBezTo>
                <a:cubicBezTo>
                  <a:pt x="173" y="343"/>
                  <a:pt x="173" y="343"/>
                  <a:pt x="173" y="343"/>
                </a:cubicBezTo>
                <a:cubicBezTo>
                  <a:pt x="176" y="344"/>
                  <a:pt x="179" y="343"/>
                  <a:pt x="181" y="341"/>
                </a:cubicBezTo>
                <a:cubicBezTo>
                  <a:pt x="183" y="339"/>
                  <a:pt x="184" y="337"/>
                  <a:pt x="184" y="334"/>
                </a:cubicBezTo>
                <a:cubicBezTo>
                  <a:pt x="184" y="185"/>
                  <a:pt x="184" y="185"/>
                  <a:pt x="184" y="185"/>
                </a:cubicBezTo>
                <a:cubicBezTo>
                  <a:pt x="205" y="161"/>
                  <a:pt x="205" y="161"/>
                  <a:pt x="205" y="161"/>
                </a:cubicBezTo>
                <a:cubicBezTo>
                  <a:pt x="206" y="159"/>
                  <a:pt x="207" y="157"/>
                  <a:pt x="207" y="155"/>
                </a:cubicBezTo>
                <a:cubicBezTo>
                  <a:pt x="207" y="56"/>
                  <a:pt x="207" y="56"/>
                  <a:pt x="207" y="56"/>
                </a:cubicBezTo>
                <a:cubicBezTo>
                  <a:pt x="207" y="51"/>
                  <a:pt x="204" y="48"/>
                  <a:pt x="200" y="4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pPr defTabSz="914363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1095" y="4217551"/>
            <a:ext cx="1911164" cy="8586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Log in to</a:t>
            </a:r>
          </a:p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Windows Azure</a:t>
            </a:r>
          </a:p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Management </a:t>
            </a:r>
            <a:r>
              <a:rPr lang="en-US" dirty="0">
                <a:solidFill>
                  <a:schemeClr val="bg1"/>
                </a:solidFill>
                <a:latin typeface="Segoe UI Light" pitchFamily="34" charset="0"/>
              </a:rPr>
              <a:t>P</a:t>
            </a: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ortal</a:t>
            </a:r>
            <a:endParaRPr lang="en-US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618600" y="4217551"/>
            <a:ext cx="255037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The image is copied to</a:t>
            </a:r>
          </a:p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Segoe UI Light" pitchFamily="34" charset="0"/>
              </a:rPr>
              <a:t>your blob storage account</a:t>
            </a:r>
            <a:endParaRPr lang="en-US" dirty="0">
              <a:solidFill>
                <a:schemeClr val="bg1"/>
              </a:solidFill>
              <a:latin typeface="Segoe UI Light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3921286" y="2951793"/>
            <a:ext cx="243681" cy="190850"/>
            <a:chOff x="3754314" y="1990170"/>
            <a:chExt cx="432339" cy="230929"/>
          </a:xfrm>
        </p:grpSpPr>
        <p:sp>
          <p:nvSpPr>
            <p:cNvPr id="42" name="Rectangle 41"/>
            <p:cNvSpPr/>
            <p:nvPr/>
          </p:nvSpPr>
          <p:spPr bwMode="auto">
            <a:xfrm>
              <a:off x="3754314" y="1990170"/>
              <a:ext cx="432339" cy="230929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marL="228600" defTabSz="914363">
                <a:spcBef>
                  <a:spcPts val="1800"/>
                </a:spcBef>
                <a:spcAft>
                  <a:spcPts val="2400"/>
                </a:spcAft>
              </a:pPr>
              <a:endParaRPr lang="en-US" sz="3600" smtClean="0">
                <a:solidFill>
                  <a:schemeClr val="bg1"/>
                </a:solidFill>
                <a:latin typeface="Segoe UI Light" pitchFamily="34" charset="0"/>
              </a:endParaRPr>
            </a:p>
          </p:txBody>
        </p:sp>
        <p:pic>
          <p:nvPicPr>
            <p:cNvPr id="43" name="Picture 4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77" r="-1542" b="60894"/>
            <a:stretch/>
          </p:blipFill>
          <p:spPr>
            <a:xfrm>
              <a:off x="3783773" y="2057857"/>
              <a:ext cx="382621" cy="163242"/>
            </a:xfrm>
            <a:prstGeom prst="rect">
              <a:avLst/>
            </a:prstGeom>
          </p:spPr>
        </p:pic>
      </p:grpSp>
      <p:grpSp>
        <p:nvGrpSpPr>
          <p:cNvPr id="44" name="Group 43"/>
          <p:cNvGrpSpPr/>
          <p:nvPr/>
        </p:nvGrpSpPr>
        <p:grpSpPr>
          <a:xfrm rot="20728046">
            <a:off x="4117494" y="2264176"/>
            <a:ext cx="301066" cy="402408"/>
            <a:chOff x="4480921" y="4009689"/>
            <a:chExt cx="432339" cy="433513"/>
          </a:xfrm>
        </p:grpSpPr>
        <p:sp>
          <p:nvSpPr>
            <p:cNvPr id="46" name="Rectangle 45"/>
            <p:cNvSpPr/>
            <p:nvPr/>
          </p:nvSpPr>
          <p:spPr bwMode="auto">
            <a:xfrm>
              <a:off x="4480921" y="4009689"/>
              <a:ext cx="432339" cy="4335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marL="228600" defTabSz="914363">
                <a:spcBef>
                  <a:spcPts val="1800"/>
                </a:spcBef>
                <a:spcAft>
                  <a:spcPts val="2400"/>
                </a:spcAft>
              </a:pPr>
              <a:endParaRPr lang="en-US" sz="3600" smtClean="0">
                <a:solidFill>
                  <a:schemeClr val="bg1"/>
                </a:solidFill>
                <a:latin typeface="Segoe UI Light" pitchFamily="34" charset="0"/>
              </a:endParaRPr>
            </a:p>
          </p:txBody>
        </p:sp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77" b="28579"/>
            <a:stretch/>
          </p:blipFill>
          <p:spPr>
            <a:xfrm>
              <a:off x="4510380" y="4077377"/>
              <a:ext cx="373420" cy="298136"/>
            </a:xfrm>
            <a:prstGeom prst="rect">
              <a:avLst/>
            </a:prstGeom>
          </p:spPr>
        </p:pic>
      </p:grpSp>
      <p:grpSp>
        <p:nvGrpSpPr>
          <p:cNvPr id="53" name="Group 52"/>
          <p:cNvGrpSpPr/>
          <p:nvPr/>
        </p:nvGrpSpPr>
        <p:grpSpPr>
          <a:xfrm rot="21317832">
            <a:off x="4665992" y="1836019"/>
            <a:ext cx="400719" cy="535605"/>
            <a:chOff x="4480921" y="4009689"/>
            <a:chExt cx="432339" cy="433513"/>
          </a:xfrm>
        </p:grpSpPr>
        <p:sp>
          <p:nvSpPr>
            <p:cNvPr id="55" name="Rectangle 54"/>
            <p:cNvSpPr/>
            <p:nvPr/>
          </p:nvSpPr>
          <p:spPr bwMode="auto">
            <a:xfrm>
              <a:off x="4480921" y="4009689"/>
              <a:ext cx="432339" cy="4335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marL="228600" defTabSz="914363">
                <a:spcBef>
                  <a:spcPts val="1800"/>
                </a:spcBef>
                <a:spcAft>
                  <a:spcPts val="2400"/>
                </a:spcAft>
              </a:pPr>
              <a:endParaRPr lang="en-US" sz="3600" smtClean="0">
                <a:solidFill>
                  <a:schemeClr val="bg1"/>
                </a:solidFill>
                <a:latin typeface="Segoe UI Light" pitchFamily="34" charset="0"/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77" b="28579"/>
            <a:stretch/>
          </p:blipFill>
          <p:spPr>
            <a:xfrm>
              <a:off x="4510380" y="4077377"/>
              <a:ext cx="373420" cy="298136"/>
            </a:xfrm>
            <a:prstGeom prst="rect">
              <a:avLst/>
            </a:prstGeom>
          </p:spPr>
        </p:pic>
      </p:grpSp>
      <p:sp>
        <p:nvSpPr>
          <p:cNvPr id="60" name="Rectangle 59"/>
          <p:cNvSpPr/>
          <p:nvPr/>
        </p:nvSpPr>
        <p:spPr bwMode="auto">
          <a:xfrm>
            <a:off x="3707028" y="3127277"/>
            <a:ext cx="497736" cy="256319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71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4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90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4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9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400"/>
                            </p:stCondLst>
                            <p:childTnLst>
                              <p:par>
                                <p:cTn id="6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9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400"/>
                            </p:stCondLst>
                            <p:childTnLst>
                              <p:par>
                                <p:cTn id="7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 animBg="1"/>
      <p:bldP spid="26" grpId="0"/>
      <p:bldP spid="27" grpId="0" animBg="1"/>
      <p:bldP spid="28" grpId="0" animBg="1"/>
      <p:bldP spid="29" grpId="0" animBg="1"/>
      <p:bldP spid="30" grpId="0" animBg="1"/>
      <p:bldP spid="31" grpId="0"/>
      <p:bldP spid="38" grpId="0" animBg="1"/>
      <p:bldP spid="39" grpId="0"/>
      <p:bldP spid="40" grpId="0"/>
      <p:bldP spid="6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41639"/>
            <a:ext cx="9144000" cy="1552445"/>
          </a:xfrm>
        </p:spPr>
        <p:txBody>
          <a:bodyPr>
            <a:no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How it Works</a:t>
            </a:r>
            <a:b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</a:br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Bring your own VHD</a:t>
            </a:r>
          </a:p>
        </p:txBody>
      </p:sp>
      <p:sp>
        <p:nvSpPr>
          <p:cNvPr id="21" name="Up Arrow 20"/>
          <p:cNvSpPr/>
          <p:nvPr/>
        </p:nvSpPr>
        <p:spPr bwMode="auto">
          <a:xfrm rot="5400000">
            <a:off x="1978610" y="2705708"/>
            <a:ext cx="955763" cy="770313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Up Arrow 21"/>
          <p:cNvSpPr/>
          <p:nvPr/>
        </p:nvSpPr>
        <p:spPr bwMode="auto">
          <a:xfrm rot="5400000">
            <a:off x="3768676" y="2705708"/>
            <a:ext cx="955763" cy="770313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719924" y="4044586"/>
            <a:ext cx="1819285" cy="14957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Create a disk using the uploaded image in the Windows Azure Management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P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ortal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Freeform 79"/>
          <p:cNvSpPr>
            <a:spLocks noEditPoints="1"/>
          </p:cNvSpPr>
          <p:nvPr/>
        </p:nvSpPr>
        <p:spPr bwMode="black">
          <a:xfrm>
            <a:off x="2954466" y="2416820"/>
            <a:ext cx="794120" cy="1431029"/>
          </a:xfrm>
          <a:custGeom>
            <a:avLst/>
            <a:gdLst>
              <a:gd name="T0" fmla="*/ 1441 w 1615"/>
              <a:gd name="T1" fmla="*/ 131 h 2179"/>
              <a:gd name="T2" fmla="*/ 1344 w 1615"/>
              <a:gd name="T3" fmla="*/ 16 h 2179"/>
              <a:gd name="T4" fmla="*/ 306 w 1615"/>
              <a:gd name="T5" fmla="*/ 0 h 2179"/>
              <a:gd name="T6" fmla="*/ 62 w 1615"/>
              <a:gd name="T7" fmla="*/ 171 h 2179"/>
              <a:gd name="T8" fmla="*/ 174 w 1615"/>
              <a:gd name="T9" fmla="*/ 131 h 2179"/>
              <a:gd name="T10" fmla="*/ 174 w 1615"/>
              <a:gd name="T11" fmla="*/ 180 h 2179"/>
              <a:gd name="T12" fmla="*/ 0 w 1615"/>
              <a:gd name="T13" fmla="*/ 2005 h 2179"/>
              <a:gd name="T14" fmla="*/ 1441 w 1615"/>
              <a:gd name="T15" fmla="*/ 2179 h 2179"/>
              <a:gd name="T16" fmla="*/ 1615 w 1615"/>
              <a:gd name="T17" fmla="*/ 354 h 2179"/>
              <a:gd name="T18" fmla="*/ 1518 w 1615"/>
              <a:gd name="T19" fmla="*/ 2005 h 2179"/>
              <a:gd name="T20" fmla="*/ 174 w 1615"/>
              <a:gd name="T21" fmla="*/ 2082 h 2179"/>
              <a:gd name="T22" fmla="*/ 97 w 1615"/>
              <a:gd name="T23" fmla="*/ 354 h 2179"/>
              <a:gd name="T24" fmla="*/ 1441 w 1615"/>
              <a:gd name="T25" fmla="*/ 277 h 2179"/>
              <a:gd name="T26" fmla="*/ 1518 w 1615"/>
              <a:gd name="T27" fmla="*/ 2005 h 2179"/>
              <a:gd name="T28" fmla="*/ 241 w 1615"/>
              <a:gd name="T29" fmla="*/ 1038 h 2179"/>
              <a:gd name="T30" fmla="*/ 532 w 1615"/>
              <a:gd name="T31" fmla="*/ 1339 h 2179"/>
              <a:gd name="T32" fmla="*/ 713 w 1615"/>
              <a:gd name="T33" fmla="*/ 1304 h 2179"/>
              <a:gd name="T34" fmla="*/ 695 w 1615"/>
              <a:gd name="T35" fmla="*/ 1594 h 2179"/>
              <a:gd name="T36" fmla="*/ 1375 w 1615"/>
              <a:gd name="T37" fmla="*/ 1038 h 2179"/>
              <a:gd name="T38" fmla="*/ 808 w 1615"/>
              <a:gd name="T39" fmla="*/ 1206 h 2179"/>
              <a:gd name="T40" fmla="*/ 808 w 1615"/>
              <a:gd name="T41" fmla="*/ 870 h 2179"/>
              <a:gd name="T42" fmla="*/ 808 w 1615"/>
              <a:gd name="T43" fmla="*/ 1206 h 2179"/>
              <a:gd name="T44" fmla="*/ 652 w 1615"/>
              <a:gd name="T45" fmla="*/ 1331 h 2179"/>
              <a:gd name="T46" fmla="*/ 453 w 1615"/>
              <a:gd name="T47" fmla="*/ 1481 h 2179"/>
              <a:gd name="T48" fmla="*/ 258 w 1615"/>
              <a:gd name="T49" fmla="*/ 1960 h 2179"/>
              <a:gd name="T50" fmla="*/ 534 w 1615"/>
              <a:gd name="T51" fmla="*/ 1842 h 2179"/>
              <a:gd name="T52" fmla="*/ 702 w 1615"/>
              <a:gd name="T53" fmla="*/ 1467 h 2179"/>
              <a:gd name="T54" fmla="*/ 418 w 1615"/>
              <a:gd name="T55" fmla="*/ 1872 h 2179"/>
              <a:gd name="T56" fmla="*/ 284 w 1615"/>
              <a:gd name="T57" fmla="*/ 1780 h 2179"/>
              <a:gd name="T58" fmla="*/ 418 w 1615"/>
              <a:gd name="T59" fmla="*/ 1872 h 2179"/>
              <a:gd name="T60" fmla="*/ 204 w 1615"/>
              <a:gd name="T61" fmla="*/ 323 h 2179"/>
              <a:gd name="T62" fmla="*/ 204 w 1615"/>
              <a:gd name="T63" fmla="*/ 428 h 2179"/>
              <a:gd name="T64" fmla="*/ 1418 w 1615"/>
              <a:gd name="T65" fmla="*/ 323 h 2179"/>
              <a:gd name="T66" fmla="*/ 1418 w 1615"/>
              <a:gd name="T67" fmla="*/ 428 h 2179"/>
              <a:gd name="T68" fmla="*/ 1418 w 1615"/>
              <a:gd name="T69" fmla="*/ 323 h 2179"/>
              <a:gd name="T70" fmla="*/ 1366 w 1615"/>
              <a:gd name="T71" fmla="*/ 1978 h 2179"/>
              <a:gd name="T72" fmla="*/ 1471 w 1615"/>
              <a:gd name="T73" fmla="*/ 1978 h 2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615" h="2179">
                <a:moveTo>
                  <a:pt x="174" y="131"/>
                </a:moveTo>
                <a:cubicBezTo>
                  <a:pt x="1441" y="131"/>
                  <a:pt x="1441" y="131"/>
                  <a:pt x="1441" y="131"/>
                </a:cubicBezTo>
                <a:cubicBezTo>
                  <a:pt x="1465" y="131"/>
                  <a:pt x="1488" y="136"/>
                  <a:pt x="1509" y="145"/>
                </a:cubicBezTo>
                <a:cubicBezTo>
                  <a:pt x="1344" y="16"/>
                  <a:pt x="1344" y="16"/>
                  <a:pt x="1344" y="16"/>
                </a:cubicBezTo>
                <a:cubicBezTo>
                  <a:pt x="1333" y="7"/>
                  <a:pt x="1312" y="0"/>
                  <a:pt x="1298" y="0"/>
                </a:cubicBezTo>
                <a:cubicBezTo>
                  <a:pt x="306" y="0"/>
                  <a:pt x="306" y="0"/>
                  <a:pt x="306" y="0"/>
                </a:cubicBezTo>
                <a:cubicBezTo>
                  <a:pt x="292" y="0"/>
                  <a:pt x="271" y="7"/>
                  <a:pt x="260" y="16"/>
                </a:cubicBezTo>
                <a:cubicBezTo>
                  <a:pt x="62" y="171"/>
                  <a:pt x="62" y="171"/>
                  <a:pt x="62" y="171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94" y="146"/>
                  <a:pt x="132" y="131"/>
                  <a:pt x="174" y="131"/>
                </a:cubicBezTo>
                <a:close/>
                <a:moveTo>
                  <a:pt x="1441" y="180"/>
                </a:moveTo>
                <a:cubicBezTo>
                  <a:pt x="174" y="180"/>
                  <a:pt x="174" y="180"/>
                  <a:pt x="174" y="180"/>
                </a:cubicBezTo>
                <a:cubicBezTo>
                  <a:pt x="78" y="180"/>
                  <a:pt x="0" y="258"/>
                  <a:pt x="0" y="354"/>
                </a:cubicBezTo>
                <a:cubicBezTo>
                  <a:pt x="0" y="2005"/>
                  <a:pt x="0" y="2005"/>
                  <a:pt x="0" y="2005"/>
                </a:cubicBezTo>
                <a:cubicBezTo>
                  <a:pt x="0" y="2101"/>
                  <a:pt x="78" y="2179"/>
                  <a:pt x="174" y="2179"/>
                </a:cubicBezTo>
                <a:cubicBezTo>
                  <a:pt x="1441" y="2179"/>
                  <a:pt x="1441" y="2179"/>
                  <a:pt x="1441" y="2179"/>
                </a:cubicBezTo>
                <a:cubicBezTo>
                  <a:pt x="1537" y="2179"/>
                  <a:pt x="1615" y="2101"/>
                  <a:pt x="1615" y="2005"/>
                </a:cubicBezTo>
                <a:cubicBezTo>
                  <a:pt x="1615" y="354"/>
                  <a:pt x="1615" y="354"/>
                  <a:pt x="1615" y="354"/>
                </a:cubicBezTo>
                <a:cubicBezTo>
                  <a:pt x="1615" y="258"/>
                  <a:pt x="1537" y="180"/>
                  <a:pt x="1441" y="180"/>
                </a:cubicBezTo>
                <a:close/>
                <a:moveTo>
                  <a:pt x="1518" y="2005"/>
                </a:moveTo>
                <a:cubicBezTo>
                  <a:pt x="1518" y="2047"/>
                  <a:pt x="1484" y="2082"/>
                  <a:pt x="1441" y="2082"/>
                </a:cubicBezTo>
                <a:cubicBezTo>
                  <a:pt x="174" y="2082"/>
                  <a:pt x="174" y="2082"/>
                  <a:pt x="174" y="2082"/>
                </a:cubicBezTo>
                <a:cubicBezTo>
                  <a:pt x="132" y="2082"/>
                  <a:pt x="97" y="2047"/>
                  <a:pt x="97" y="2005"/>
                </a:cubicBezTo>
                <a:cubicBezTo>
                  <a:pt x="97" y="354"/>
                  <a:pt x="97" y="354"/>
                  <a:pt x="97" y="354"/>
                </a:cubicBezTo>
                <a:cubicBezTo>
                  <a:pt x="97" y="312"/>
                  <a:pt x="132" y="277"/>
                  <a:pt x="174" y="277"/>
                </a:cubicBezTo>
                <a:cubicBezTo>
                  <a:pt x="1441" y="277"/>
                  <a:pt x="1441" y="277"/>
                  <a:pt x="1441" y="277"/>
                </a:cubicBezTo>
                <a:cubicBezTo>
                  <a:pt x="1484" y="277"/>
                  <a:pt x="1518" y="312"/>
                  <a:pt x="1518" y="354"/>
                </a:cubicBezTo>
                <a:lnTo>
                  <a:pt x="1518" y="2005"/>
                </a:lnTo>
                <a:close/>
                <a:moveTo>
                  <a:pt x="808" y="471"/>
                </a:moveTo>
                <a:cubicBezTo>
                  <a:pt x="494" y="471"/>
                  <a:pt x="241" y="725"/>
                  <a:pt x="241" y="1038"/>
                </a:cubicBezTo>
                <a:cubicBezTo>
                  <a:pt x="241" y="1201"/>
                  <a:pt x="309" y="1347"/>
                  <a:pt x="419" y="1451"/>
                </a:cubicBezTo>
                <a:cubicBezTo>
                  <a:pt x="532" y="1339"/>
                  <a:pt x="532" y="1339"/>
                  <a:pt x="532" y="1339"/>
                </a:cubicBezTo>
                <a:cubicBezTo>
                  <a:pt x="565" y="1305"/>
                  <a:pt x="610" y="1286"/>
                  <a:pt x="652" y="1286"/>
                </a:cubicBezTo>
                <a:cubicBezTo>
                  <a:pt x="675" y="1286"/>
                  <a:pt x="696" y="1292"/>
                  <a:pt x="713" y="1304"/>
                </a:cubicBezTo>
                <a:cubicBezTo>
                  <a:pt x="762" y="1337"/>
                  <a:pt x="775" y="1416"/>
                  <a:pt x="744" y="1486"/>
                </a:cubicBezTo>
                <a:cubicBezTo>
                  <a:pt x="695" y="1594"/>
                  <a:pt x="695" y="1594"/>
                  <a:pt x="695" y="1594"/>
                </a:cubicBezTo>
                <a:cubicBezTo>
                  <a:pt x="731" y="1601"/>
                  <a:pt x="769" y="1605"/>
                  <a:pt x="808" y="1605"/>
                </a:cubicBezTo>
                <a:cubicBezTo>
                  <a:pt x="1121" y="1605"/>
                  <a:pt x="1375" y="1351"/>
                  <a:pt x="1375" y="1038"/>
                </a:cubicBezTo>
                <a:cubicBezTo>
                  <a:pt x="1375" y="725"/>
                  <a:pt x="1121" y="471"/>
                  <a:pt x="808" y="471"/>
                </a:cubicBezTo>
                <a:close/>
                <a:moveTo>
                  <a:pt x="808" y="1206"/>
                </a:moveTo>
                <a:cubicBezTo>
                  <a:pt x="715" y="1206"/>
                  <a:pt x="640" y="1131"/>
                  <a:pt x="640" y="1038"/>
                </a:cubicBezTo>
                <a:cubicBezTo>
                  <a:pt x="640" y="945"/>
                  <a:pt x="715" y="870"/>
                  <a:pt x="808" y="870"/>
                </a:cubicBezTo>
                <a:cubicBezTo>
                  <a:pt x="900" y="870"/>
                  <a:pt x="976" y="945"/>
                  <a:pt x="976" y="1038"/>
                </a:cubicBezTo>
                <a:cubicBezTo>
                  <a:pt x="976" y="1131"/>
                  <a:pt x="900" y="1206"/>
                  <a:pt x="808" y="1206"/>
                </a:cubicBezTo>
                <a:close/>
                <a:moveTo>
                  <a:pt x="687" y="1341"/>
                </a:moveTo>
                <a:cubicBezTo>
                  <a:pt x="678" y="1334"/>
                  <a:pt x="665" y="1331"/>
                  <a:pt x="652" y="1331"/>
                </a:cubicBezTo>
                <a:cubicBezTo>
                  <a:pt x="623" y="1331"/>
                  <a:pt x="590" y="1345"/>
                  <a:pt x="564" y="1371"/>
                </a:cubicBezTo>
                <a:cubicBezTo>
                  <a:pt x="453" y="1481"/>
                  <a:pt x="453" y="1481"/>
                  <a:pt x="453" y="1481"/>
                </a:cubicBezTo>
                <a:cubicBezTo>
                  <a:pt x="271" y="1660"/>
                  <a:pt x="271" y="1660"/>
                  <a:pt x="271" y="1660"/>
                </a:cubicBezTo>
                <a:cubicBezTo>
                  <a:pt x="170" y="1760"/>
                  <a:pt x="164" y="1895"/>
                  <a:pt x="258" y="1960"/>
                </a:cubicBezTo>
                <a:cubicBezTo>
                  <a:pt x="286" y="1979"/>
                  <a:pt x="315" y="1988"/>
                  <a:pt x="346" y="1988"/>
                </a:cubicBezTo>
                <a:cubicBezTo>
                  <a:pt x="419" y="1988"/>
                  <a:pt x="493" y="1935"/>
                  <a:pt x="534" y="1842"/>
                </a:cubicBezTo>
                <a:cubicBezTo>
                  <a:pt x="650" y="1583"/>
                  <a:pt x="650" y="1583"/>
                  <a:pt x="650" y="1583"/>
                </a:cubicBezTo>
                <a:cubicBezTo>
                  <a:pt x="702" y="1467"/>
                  <a:pt x="702" y="1467"/>
                  <a:pt x="702" y="1467"/>
                </a:cubicBezTo>
                <a:cubicBezTo>
                  <a:pt x="724" y="1418"/>
                  <a:pt x="717" y="1362"/>
                  <a:pt x="687" y="1341"/>
                </a:cubicBezTo>
                <a:close/>
                <a:moveTo>
                  <a:pt x="418" y="1872"/>
                </a:moveTo>
                <a:cubicBezTo>
                  <a:pt x="392" y="1909"/>
                  <a:pt x="341" y="1919"/>
                  <a:pt x="304" y="1893"/>
                </a:cubicBezTo>
                <a:cubicBezTo>
                  <a:pt x="267" y="1867"/>
                  <a:pt x="258" y="1817"/>
                  <a:pt x="284" y="1780"/>
                </a:cubicBezTo>
                <a:cubicBezTo>
                  <a:pt x="310" y="1743"/>
                  <a:pt x="360" y="1734"/>
                  <a:pt x="397" y="1759"/>
                </a:cubicBezTo>
                <a:cubicBezTo>
                  <a:pt x="434" y="1785"/>
                  <a:pt x="443" y="1836"/>
                  <a:pt x="418" y="1872"/>
                </a:cubicBezTo>
                <a:close/>
                <a:moveTo>
                  <a:pt x="256" y="376"/>
                </a:moveTo>
                <a:cubicBezTo>
                  <a:pt x="256" y="346"/>
                  <a:pt x="233" y="323"/>
                  <a:pt x="204" y="323"/>
                </a:cubicBezTo>
                <a:cubicBezTo>
                  <a:pt x="174" y="323"/>
                  <a:pt x="151" y="346"/>
                  <a:pt x="151" y="376"/>
                </a:cubicBezTo>
                <a:cubicBezTo>
                  <a:pt x="151" y="405"/>
                  <a:pt x="174" y="428"/>
                  <a:pt x="204" y="428"/>
                </a:cubicBezTo>
                <a:cubicBezTo>
                  <a:pt x="233" y="428"/>
                  <a:pt x="256" y="405"/>
                  <a:pt x="256" y="376"/>
                </a:cubicBezTo>
                <a:close/>
                <a:moveTo>
                  <a:pt x="1418" y="323"/>
                </a:moveTo>
                <a:cubicBezTo>
                  <a:pt x="1389" y="323"/>
                  <a:pt x="1366" y="346"/>
                  <a:pt x="1366" y="376"/>
                </a:cubicBezTo>
                <a:cubicBezTo>
                  <a:pt x="1366" y="405"/>
                  <a:pt x="1389" y="428"/>
                  <a:pt x="1418" y="428"/>
                </a:cubicBezTo>
                <a:cubicBezTo>
                  <a:pt x="1448" y="428"/>
                  <a:pt x="1471" y="405"/>
                  <a:pt x="1471" y="376"/>
                </a:cubicBezTo>
                <a:cubicBezTo>
                  <a:pt x="1471" y="346"/>
                  <a:pt x="1448" y="323"/>
                  <a:pt x="1418" y="323"/>
                </a:cubicBezTo>
                <a:close/>
                <a:moveTo>
                  <a:pt x="1418" y="1925"/>
                </a:moveTo>
                <a:cubicBezTo>
                  <a:pt x="1389" y="1925"/>
                  <a:pt x="1366" y="1949"/>
                  <a:pt x="1366" y="1978"/>
                </a:cubicBezTo>
                <a:cubicBezTo>
                  <a:pt x="1366" y="2007"/>
                  <a:pt x="1389" y="2031"/>
                  <a:pt x="1418" y="2031"/>
                </a:cubicBezTo>
                <a:cubicBezTo>
                  <a:pt x="1448" y="2031"/>
                  <a:pt x="1471" y="2007"/>
                  <a:pt x="1471" y="1978"/>
                </a:cubicBezTo>
                <a:cubicBezTo>
                  <a:pt x="1471" y="1949"/>
                  <a:pt x="1448" y="1925"/>
                  <a:pt x="1418" y="192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pPr defTabSz="914363"/>
            <a:endParaRPr lang="en-US" sz="1500" dirty="0">
              <a:solidFill>
                <a:schemeClr val="bg1"/>
              </a:solidFill>
              <a:latin typeface="Calibri" panose="020F050202020403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Up Arrow 25"/>
          <p:cNvSpPr/>
          <p:nvPr/>
        </p:nvSpPr>
        <p:spPr bwMode="auto">
          <a:xfrm rot="5400000">
            <a:off x="6559300" y="2705708"/>
            <a:ext cx="955763" cy="770313"/>
          </a:xfrm>
          <a:prstGeom prst="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701360" y="4044586"/>
            <a:ext cx="1300329" cy="7478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Upload image to blob storage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354497" y="4044586"/>
            <a:ext cx="1567478" cy="9971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Virtual Machine booted. Changes copied to </a:t>
            </a: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blob storage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87504" y="4044586"/>
            <a:ext cx="1164557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63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Create your own </a:t>
            </a:r>
            <a:r>
              <a:rPr lang="en-US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VHD</a:t>
            </a:r>
            <a:endParaRPr lang="en-US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39" name="Group 38"/>
          <p:cNvGrpSpPr>
            <a:grpSpLocks noChangeAspect="1"/>
          </p:cNvGrpSpPr>
          <p:nvPr/>
        </p:nvGrpSpPr>
        <p:grpSpPr bwMode="black">
          <a:xfrm>
            <a:off x="163841" y="2363964"/>
            <a:ext cx="1794677" cy="1440627"/>
            <a:chOff x="8843608" y="828600"/>
            <a:chExt cx="925448" cy="557448"/>
          </a:xfrm>
          <a:solidFill>
            <a:schemeClr val="tx2"/>
          </a:solidFill>
        </p:grpSpPr>
        <p:sp>
          <p:nvSpPr>
            <p:cNvPr id="40" name="Rectangle 39"/>
            <p:cNvSpPr/>
            <p:nvPr/>
          </p:nvSpPr>
          <p:spPr bwMode="black">
            <a:xfrm>
              <a:off x="8857595" y="835151"/>
              <a:ext cx="623646" cy="45963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22781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41" name="Group 40"/>
            <p:cNvGrpSpPr/>
            <p:nvPr/>
          </p:nvGrpSpPr>
          <p:grpSpPr bwMode="black">
            <a:xfrm>
              <a:off x="8843608" y="828600"/>
              <a:ext cx="925448" cy="557448"/>
              <a:chOff x="863600" y="2393157"/>
              <a:chExt cx="876300" cy="527844"/>
            </a:xfrm>
            <a:grpFill/>
          </p:grpSpPr>
          <p:sp>
            <p:nvSpPr>
              <p:cNvPr id="42" name="Freeform 41"/>
              <p:cNvSpPr>
                <a:spLocks noEditPoints="1"/>
              </p:cNvSpPr>
              <p:nvPr/>
            </p:nvSpPr>
            <p:spPr bwMode="black">
              <a:xfrm>
                <a:off x="1521931" y="2481334"/>
                <a:ext cx="217969" cy="439667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z="1800" spc="-122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43" name="Freeform 88"/>
              <p:cNvSpPr>
                <a:spLocks noEditPoints="1"/>
              </p:cNvSpPr>
              <p:nvPr/>
            </p:nvSpPr>
            <p:spPr bwMode="black">
              <a:xfrm>
                <a:off x="863600" y="2393157"/>
                <a:ext cx="622300" cy="527844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z="1800" spc="-122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pic>
        <p:nvPicPr>
          <p:cNvPr id="44" name="Picture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154" y="2785057"/>
            <a:ext cx="1206166" cy="694552"/>
          </a:xfrm>
          <a:prstGeom prst="roundRect">
            <a:avLst>
              <a:gd name="adj" fmla="val 11234"/>
            </a:avLst>
          </a:prstGeom>
          <a:solidFill>
            <a:schemeClr val="tx2"/>
          </a:solidFill>
          <a:ln w="63500">
            <a:solidFill>
              <a:schemeClr val="tx2"/>
            </a:solidFill>
          </a:ln>
          <a:effectLst/>
        </p:spPr>
      </p:pic>
      <p:cxnSp>
        <p:nvCxnSpPr>
          <p:cNvPr id="45" name="Elbow Connector 44"/>
          <p:cNvCxnSpPr/>
          <p:nvPr/>
        </p:nvCxnSpPr>
        <p:spPr>
          <a:xfrm rot="5400000">
            <a:off x="5802723" y="2689633"/>
            <a:ext cx="12700" cy="4778402"/>
          </a:xfrm>
          <a:prstGeom prst="bentConnector3">
            <a:avLst>
              <a:gd name="adj1" fmla="val 10048780"/>
            </a:avLst>
          </a:prstGeom>
          <a:ln w="419100">
            <a:solidFill>
              <a:schemeClr val="accent1"/>
            </a:solidFill>
            <a:miter lim="800000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/>
          <p:cNvGrpSpPr>
            <a:grpSpLocks noChangeAspect="1"/>
          </p:cNvGrpSpPr>
          <p:nvPr/>
        </p:nvGrpSpPr>
        <p:grpSpPr bwMode="black">
          <a:xfrm>
            <a:off x="4744531" y="2564421"/>
            <a:ext cx="1794677" cy="1440627"/>
            <a:chOff x="8843608" y="828600"/>
            <a:chExt cx="925448" cy="557448"/>
          </a:xfrm>
          <a:solidFill>
            <a:schemeClr val="tx2"/>
          </a:solidFill>
        </p:grpSpPr>
        <p:sp>
          <p:nvSpPr>
            <p:cNvPr id="60" name="Rectangle 59"/>
            <p:cNvSpPr/>
            <p:nvPr/>
          </p:nvSpPr>
          <p:spPr bwMode="black">
            <a:xfrm>
              <a:off x="8857595" y="835151"/>
              <a:ext cx="623646" cy="45963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22781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61" name="Group 60"/>
            <p:cNvGrpSpPr/>
            <p:nvPr/>
          </p:nvGrpSpPr>
          <p:grpSpPr bwMode="black">
            <a:xfrm>
              <a:off x="8843608" y="828600"/>
              <a:ext cx="925448" cy="557448"/>
              <a:chOff x="863600" y="2393157"/>
              <a:chExt cx="876300" cy="527844"/>
            </a:xfrm>
            <a:grpFill/>
          </p:grpSpPr>
          <p:sp>
            <p:nvSpPr>
              <p:cNvPr id="64" name="Freeform 63"/>
              <p:cNvSpPr>
                <a:spLocks noEditPoints="1"/>
              </p:cNvSpPr>
              <p:nvPr/>
            </p:nvSpPr>
            <p:spPr bwMode="black">
              <a:xfrm>
                <a:off x="1521931" y="2481334"/>
                <a:ext cx="217969" cy="439667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z="1800" spc="-122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5" name="Freeform 88"/>
              <p:cNvSpPr>
                <a:spLocks noEditPoints="1"/>
              </p:cNvSpPr>
              <p:nvPr/>
            </p:nvSpPr>
            <p:spPr bwMode="black">
              <a:xfrm>
                <a:off x="863600" y="2393157"/>
                <a:ext cx="622300" cy="527844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z="1800" spc="-122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grpSp>
        <p:nvGrpSpPr>
          <p:cNvPr id="66" name="Group 65"/>
          <p:cNvGrpSpPr/>
          <p:nvPr/>
        </p:nvGrpSpPr>
        <p:grpSpPr>
          <a:xfrm>
            <a:off x="835697" y="2795524"/>
            <a:ext cx="292836" cy="346146"/>
            <a:chOff x="4480921" y="4009689"/>
            <a:chExt cx="432339" cy="433513"/>
          </a:xfrm>
        </p:grpSpPr>
        <p:sp>
          <p:nvSpPr>
            <p:cNvPr id="67" name="Rectangle 66"/>
            <p:cNvSpPr/>
            <p:nvPr/>
          </p:nvSpPr>
          <p:spPr bwMode="auto">
            <a:xfrm>
              <a:off x="4480921" y="4009689"/>
              <a:ext cx="432339" cy="4335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marL="228600" defTabSz="914363">
                <a:spcBef>
                  <a:spcPts val="1800"/>
                </a:spcBef>
                <a:spcAft>
                  <a:spcPts val="2400"/>
                </a:spcAft>
              </a:pPr>
              <a:endParaRPr lang="en-US" sz="360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77" b="28579"/>
            <a:stretch/>
          </p:blipFill>
          <p:spPr>
            <a:xfrm>
              <a:off x="4510380" y="4077377"/>
              <a:ext cx="373420" cy="298136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87504" y="2785054"/>
            <a:ext cx="366731" cy="356616"/>
            <a:chOff x="444278" y="2785054"/>
            <a:chExt cx="359080" cy="356616"/>
          </a:xfrm>
        </p:grpSpPr>
        <p:sp>
          <p:nvSpPr>
            <p:cNvPr id="78" name="Rectangle 77"/>
            <p:cNvSpPr/>
            <p:nvPr/>
          </p:nvSpPr>
          <p:spPr bwMode="auto">
            <a:xfrm>
              <a:off x="444278" y="2785054"/>
              <a:ext cx="359080" cy="35661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marL="228600" defTabSz="914363">
                <a:spcBef>
                  <a:spcPts val="1800"/>
                </a:spcBef>
                <a:spcAft>
                  <a:spcPts val="2400"/>
                </a:spcAft>
              </a:pPr>
              <a:endParaRPr lang="en-US" sz="36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4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  <a14:imgEffect>
                        <a14:colorTemperature colorTemp="6625"/>
                      </a14:imgEffect>
                      <a14:imgEffect>
                        <a14:saturation sa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626" y="2827178"/>
              <a:ext cx="257938" cy="302863"/>
            </a:xfrm>
            <a:prstGeom prst="rect">
              <a:avLst/>
            </a:prstGeom>
          </p:spPr>
        </p:pic>
      </p:grpSp>
      <p:sp>
        <p:nvSpPr>
          <p:cNvPr id="9" name="Arc 8"/>
          <p:cNvSpPr/>
          <p:nvPr/>
        </p:nvSpPr>
        <p:spPr>
          <a:xfrm rot="16200000">
            <a:off x="1690655" y="1383067"/>
            <a:ext cx="1069578" cy="1818643"/>
          </a:xfrm>
          <a:prstGeom prst="arc">
            <a:avLst>
              <a:gd name="adj1" fmla="val 16200000"/>
              <a:gd name="adj2" fmla="val 5245117"/>
            </a:avLst>
          </a:prstGeom>
          <a:ln>
            <a:prstDash val="lg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63"/>
            <a:endParaRPr lang="en-US" sz="18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81" name="Group 80"/>
          <p:cNvGrpSpPr/>
          <p:nvPr/>
        </p:nvGrpSpPr>
        <p:grpSpPr>
          <a:xfrm rot="21317832">
            <a:off x="2343789" y="1477789"/>
            <a:ext cx="400719" cy="438111"/>
            <a:chOff x="4480921" y="4009689"/>
            <a:chExt cx="432339" cy="433513"/>
          </a:xfrm>
        </p:grpSpPr>
        <p:sp>
          <p:nvSpPr>
            <p:cNvPr id="82" name="Rectangle 81"/>
            <p:cNvSpPr/>
            <p:nvPr/>
          </p:nvSpPr>
          <p:spPr bwMode="auto">
            <a:xfrm>
              <a:off x="4480921" y="4009689"/>
              <a:ext cx="432339" cy="4335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marL="228600" defTabSz="914363">
                <a:spcBef>
                  <a:spcPts val="1800"/>
                </a:spcBef>
                <a:spcAft>
                  <a:spcPts val="2400"/>
                </a:spcAft>
              </a:pPr>
              <a:endParaRPr lang="en-US" sz="360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83" name="Picture 8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77" b="28579"/>
            <a:stretch/>
          </p:blipFill>
          <p:spPr>
            <a:xfrm>
              <a:off x="4510380" y="4077377"/>
              <a:ext cx="373420" cy="298136"/>
            </a:xfrm>
            <a:prstGeom prst="rect">
              <a:avLst/>
            </a:prstGeom>
          </p:spPr>
        </p:pic>
      </p:grpSp>
      <p:grpSp>
        <p:nvGrpSpPr>
          <p:cNvPr id="84" name="Group 83"/>
          <p:cNvGrpSpPr/>
          <p:nvPr/>
        </p:nvGrpSpPr>
        <p:grpSpPr>
          <a:xfrm rot="20728046">
            <a:off x="1663347" y="1641814"/>
            <a:ext cx="306516" cy="354149"/>
            <a:chOff x="4480921" y="4009689"/>
            <a:chExt cx="432339" cy="433513"/>
          </a:xfrm>
        </p:grpSpPr>
        <p:sp>
          <p:nvSpPr>
            <p:cNvPr id="85" name="Rectangle 84"/>
            <p:cNvSpPr/>
            <p:nvPr/>
          </p:nvSpPr>
          <p:spPr bwMode="auto">
            <a:xfrm>
              <a:off x="4480921" y="4009689"/>
              <a:ext cx="432339" cy="4335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marL="228600" defTabSz="914363">
                <a:spcBef>
                  <a:spcPts val="1800"/>
                </a:spcBef>
                <a:spcAft>
                  <a:spcPts val="2400"/>
                </a:spcAft>
              </a:pPr>
              <a:endParaRPr lang="en-US" sz="360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86" name="Picture 85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77" b="28579"/>
            <a:stretch/>
          </p:blipFill>
          <p:spPr>
            <a:xfrm>
              <a:off x="4510380" y="4077377"/>
              <a:ext cx="373420" cy="298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525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6500"/>
                            </p:stCondLst>
                            <p:childTnLst>
                              <p:par>
                                <p:cTn id="6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/>
      <p:bldP spid="25" grpId="0" animBg="1"/>
      <p:bldP spid="26" grpId="0" animBg="1"/>
      <p:bldP spid="27" grpId="0"/>
      <p:bldP spid="28" grpId="0"/>
      <p:bldP spid="38" grpId="0"/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82600" y="1852062"/>
            <a:ext cx="2649240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8056" indent="-384048" defTabSz="914400">
              <a:lnSpc>
                <a:spcPct val="80000"/>
              </a:lnSpc>
              <a:spcBef>
                <a:spcPct val="20000"/>
              </a:spcBef>
              <a:spcAft>
                <a:spcPts val="1200"/>
              </a:spcAft>
              <a:buClr>
                <a:schemeClr val="accent1"/>
              </a:buClr>
              <a:buSzPct val="80000"/>
              <a:buFont typeface="Wingdings 2"/>
              <a:buChar char=""/>
            </a:pPr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Uses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standard VHD format, easy to move between Windows Azure and On-Premises Data Centers</a:t>
            </a:r>
          </a:p>
          <a:p>
            <a:pPr marL="448056" indent="-384048" defTabSz="914400">
              <a:lnSpc>
                <a:spcPct val="80000"/>
              </a:lnSpc>
              <a:spcBef>
                <a:spcPct val="20000"/>
              </a:spcBef>
              <a:spcAft>
                <a:spcPts val="1200"/>
              </a:spcAft>
              <a:buClr>
                <a:schemeClr val="accent1"/>
              </a:buClr>
              <a:buSzPct val="80000"/>
              <a:buFont typeface="Wingdings 2"/>
              <a:buChar char=""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Equally easy to directly move to another service provider that supports VHDs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5433149" y="768541"/>
            <a:ext cx="2559923" cy="2243600"/>
          </a:xfrm>
          <a:prstGeom prst="roundRect">
            <a:avLst/>
          </a:prstGeom>
          <a:solidFill>
            <a:srgbClr val="FFFFFF">
              <a:alpha val="94118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5044685" y="4743450"/>
            <a:ext cx="3084873" cy="2114550"/>
          </a:xfrm>
          <a:prstGeom prst="roundRect">
            <a:avLst>
              <a:gd name="adj" fmla="val 6579"/>
            </a:avLst>
          </a:prstGeom>
          <a:noFill/>
          <a:ln w="28575">
            <a:solidFill>
              <a:schemeClr val="bg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035657" y="5164326"/>
            <a:ext cx="542332" cy="623207"/>
            <a:chOff x="328301" y="3881331"/>
            <a:chExt cx="722921" cy="623207"/>
          </a:xfrm>
        </p:grpSpPr>
        <p:sp>
          <p:nvSpPr>
            <p:cNvPr id="16" name="Hexagon 15"/>
            <p:cNvSpPr/>
            <p:nvPr/>
          </p:nvSpPr>
          <p:spPr bwMode="auto">
            <a:xfrm rot="19780699">
              <a:off x="328301" y="3881331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B0F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298" y="4051799"/>
              <a:ext cx="314925" cy="314925"/>
            </a:xfrm>
            <a:prstGeom prst="rect">
              <a:avLst/>
            </a:prstGeom>
          </p:spPr>
        </p:pic>
      </p:grpSp>
      <p:sp>
        <p:nvSpPr>
          <p:cNvPr id="18" name="Oval 17"/>
          <p:cNvSpPr/>
          <p:nvPr/>
        </p:nvSpPr>
        <p:spPr bwMode="auto">
          <a:xfrm>
            <a:off x="6103016" y="880600"/>
            <a:ext cx="81664" cy="108857"/>
          </a:xfrm>
          <a:prstGeom prst="ellipse">
            <a:avLst/>
          </a:prstGeom>
          <a:solidFill>
            <a:srgbClr val="FFFFFF">
              <a:alpha val="85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610511" y="430049"/>
            <a:ext cx="2129289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8987">
              <a:lnSpc>
                <a:spcPct val="80000"/>
              </a:lnSpc>
              <a:spcBef>
                <a:spcPct val="20000"/>
              </a:spcBef>
              <a:buSzPct val="80000"/>
            </a:pP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Windows Azur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780489" y="5743524"/>
            <a:ext cx="2129289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8987">
              <a:lnSpc>
                <a:spcPct val="8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Other Data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Center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6533423" y="5164326"/>
            <a:ext cx="542332" cy="623207"/>
            <a:chOff x="328301" y="3881331"/>
            <a:chExt cx="722921" cy="623207"/>
          </a:xfrm>
        </p:grpSpPr>
        <p:sp>
          <p:nvSpPr>
            <p:cNvPr id="22" name="Hexagon 21"/>
            <p:cNvSpPr/>
            <p:nvPr/>
          </p:nvSpPr>
          <p:spPr bwMode="auto">
            <a:xfrm rot="19780699">
              <a:off x="328301" y="3881331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B0F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298" y="4051799"/>
              <a:ext cx="314925" cy="314925"/>
            </a:xfrm>
            <a:prstGeom prst="rect">
              <a:avLst/>
            </a:prstGeom>
          </p:spPr>
        </p:pic>
      </p:grpSp>
      <p:grpSp>
        <p:nvGrpSpPr>
          <p:cNvPr id="24" name="Group 23"/>
          <p:cNvGrpSpPr/>
          <p:nvPr/>
        </p:nvGrpSpPr>
        <p:grpSpPr>
          <a:xfrm>
            <a:off x="6031188" y="5164326"/>
            <a:ext cx="542332" cy="623207"/>
            <a:chOff x="328301" y="3881331"/>
            <a:chExt cx="722921" cy="623207"/>
          </a:xfrm>
        </p:grpSpPr>
        <p:sp>
          <p:nvSpPr>
            <p:cNvPr id="25" name="Hexagon 24"/>
            <p:cNvSpPr/>
            <p:nvPr/>
          </p:nvSpPr>
          <p:spPr bwMode="auto">
            <a:xfrm rot="19780699">
              <a:off x="328301" y="3881331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B0F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298" y="4051799"/>
              <a:ext cx="314925" cy="314925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6796800" y="1731311"/>
            <a:ext cx="542332" cy="623207"/>
            <a:chOff x="328301" y="3881331"/>
            <a:chExt cx="722921" cy="623207"/>
          </a:xfrm>
        </p:grpSpPr>
        <p:sp>
          <p:nvSpPr>
            <p:cNvPr id="28" name="Hexagon 27"/>
            <p:cNvSpPr/>
            <p:nvPr/>
          </p:nvSpPr>
          <p:spPr bwMode="auto">
            <a:xfrm rot="19780699">
              <a:off x="328301" y="3881331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298" y="4051799"/>
              <a:ext cx="314925" cy="314925"/>
            </a:xfrm>
            <a:prstGeom prst="rect">
              <a:avLst/>
            </a:prstGeom>
          </p:spPr>
        </p:pic>
      </p:grpSp>
      <p:grpSp>
        <p:nvGrpSpPr>
          <p:cNvPr id="30" name="Group 29"/>
          <p:cNvGrpSpPr/>
          <p:nvPr/>
        </p:nvGrpSpPr>
        <p:grpSpPr>
          <a:xfrm>
            <a:off x="6282316" y="1731311"/>
            <a:ext cx="542332" cy="623207"/>
            <a:chOff x="328301" y="3881331"/>
            <a:chExt cx="722921" cy="623207"/>
          </a:xfrm>
        </p:grpSpPr>
        <p:sp>
          <p:nvSpPr>
            <p:cNvPr id="31" name="Hexagon 30"/>
            <p:cNvSpPr/>
            <p:nvPr/>
          </p:nvSpPr>
          <p:spPr bwMode="auto">
            <a:xfrm rot="19780699">
              <a:off x="328301" y="3881331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298" y="4051799"/>
              <a:ext cx="314925" cy="314925"/>
            </a:xfrm>
            <a:prstGeom prst="rect">
              <a:avLst/>
            </a:prstGeom>
          </p:spPr>
        </p:pic>
      </p:grpSp>
      <p:grpSp>
        <p:nvGrpSpPr>
          <p:cNvPr id="33" name="Group 32"/>
          <p:cNvGrpSpPr/>
          <p:nvPr/>
        </p:nvGrpSpPr>
        <p:grpSpPr>
          <a:xfrm>
            <a:off x="5593447" y="5927273"/>
            <a:ext cx="2211914" cy="864991"/>
            <a:chOff x="3849232" y="5927272"/>
            <a:chExt cx="2948451" cy="864991"/>
          </a:xfrm>
        </p:grpSpPr>
        <p:grpSp>
          <p:nvGrpSpPr>
            <p:cNvPr id="34" name="Group 33"/>
            <p:cNvGrpSpPr/>
            <p:nvPr/>
          </p:nvGrpSpPr>
          <p:grpSpPr>
            <a:xfrm>
              <a:off x="3849232" y="6384280"/>
              <a:ext cx="2948451" cy="407983"/>
              <a:chOff x="-830593" y="6105876"/>
              <a:chExt cx="5019459" cy="694552"/>
            </a:xfrm>
          </p:grpSpPr>
          <p:pic>
            <p:nvPicPr>
              <p:cNvPr id="39" name="Picture 38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7326" y="6105876"/>
                <a:ext cx="1607803" cy="694552"/>
              </a:xfrm>
              <a:prstGeom prst="rect">
                <a:avLst/>
              </a:prstGeom>
            </p:spPr>
          </p:pic>
          <p:pic>
            <p:nvPicPr>
              <p:cNvPr id="40" name="Picture 39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81063" y="6105876"/>
                <a:ext cx="1607803" cy="694552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830593" y="6105876"/>
                <a:ext cx="1607803" cy="694552"/>
              </a:xfrm>
              <a:prstGeom prst="rect">
                <a:avLst/>
              </a:prstGeom>
            </p:spPr>
          </p:pic>
        </p:grpSp>
        <p:grpSp>
          <p:nvGrpSpPr>
            <p:cNvPr id="35" name="Group 34"/>
            <p:cNvGrpSpPr/>
            <p:nvPr/>
          </p:nvGrpSpPr>
          <p:grpSpPr>
            <a:xfrm>
              <a:off x="3849232" y="5927272"/>
              <a:ext cx="2948451" cy="407983"/>
              <a:chOff x="-830593" y="6105876"/>
              <a:chExt cx="5019459" cy="694552"/>
            </a:xfrm>
          </p:grpSpPr>
          <p:pic>
            <p:nvPicPr>
              <p:cNvPr id="36" name="Picture 35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7326" y="6105876"/>
                <a:ext cx="1607803" cy="694552"/>
              </a:xfrm>
              <a:prstGeom prst="rect">
                <a:avLst/>
              </a:prstGeom>
            </p:spPr>
          </p:pic>
          <p:pic>
            <p:nvPicPr>
              <p:cNvPr id="37" name="Picture 36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81063" y="6105876"/>
                <a:ext cx="1607803" cy="694552"/>
              </a:xfrm>
              <a:prstGeom prst="rect">
                <a:avLst/>
              </a:prstGeom>
            </p:spPr>
          </p:pic>
          <p:pic>
            <p:nvPicPr>
              <p:cNvPr id="38" name="Picture 37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830593" y="6105876"/>
                <a:ext cx="1607803" cy="694552"/>
              </a:xfrm>
              <a:prstGeom prst="rect">
                <a:avLst/>
              </a:prstGeom>
            </p:spPr>
          </p:pic>
        </p:grpSp>
      </p:grpSp>
      <p:grpSp>
        <p:nvGrpSpPr>
          <p:cNvPr id="42" name="Group 41"/>
          <p:cNvGrpSpPr/>
          <p:nvPr/>
        </p:nvGrpSpPr>
        <p:grpSpPr>
          <a:xfrm>
            <a:off x="6535550" y="1141128"/>
            <a:ext cx="542332" cy="623207"/>
            <a:chOff x="328301" y="3881331"/>
            <a:chExt cx="722921" cy="623207"/>
          </a:xfrm>
        </p:grpSpPr>
        <p:sp>
          <p:nvSpPr>
            <p:cNvPr id="43" name="Hexagon 42"/>
            <p:cNvSpPr/>
            <p:nvPr/>
          </p:nvSpPr>
          <p:spPr bwMode="auto">
            <a:xfrm rot="19780699">
              <a:off x="328301" y="3881331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298" y="4051799"/>
              <a:ext cx="314925" cy="314925"/>
            </a:xfrm>
            <a:prstGeom prst="rect">
              <a:avLst/>
            </a:prstGeom>
          </p:spPr>
        </p:pic>
      </p:grpSp>
      <p:grpSp>
        <p:nvGrpSpPr>
          <p:cNvPr id="45" name="Group 44"/>
          <p:cNvGrpSpPr/>
          <p:nvPr/>
        </p:nvGrpSpPr>
        <p:grpSpPr>
          <a:xfrm>
            <a:off x="6022202" y="1144331"/>
            <a:ext cx="542332" cy="623207"/>
            <a:chOff x="328301" y="3881331"/>
            <a:chExt cx="722921" cy="623207"/>
          </a:xfrm>
        </p:grpSpPr>
        <p:sp>
          <p:nvSpPr>
            <p:cNvPr id="46" name="Hexagon 45"/>
            <p:cNvSpPr/>
            <p:nvPr/>
          </p:nvSpPr>
          <p:spPr bwMode="auto">
            <a:xfrm rot="19780699">
              <a:off x="328301" y="3881331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B0F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298" y="4051799"/>
              <a:ext cx="314925" cy="314925"/>
            </a:xfrm>
            <a:prstGeom prst="rect">
              <a:avLst/>
            </a:prstGeom>
          </p:spPr>
        </p:pic>
      </p:grpSp>
      <p:grpSp>
        <p:nvGrpSpPr>
          <p:cNvPr id="48" name="Group 47"/>
          <p:cNvGrpSpPr/>
          <p:nvPr/>
        </p:nvGrpSpPr>
        <p:grpSpPr>
          <a:xfrm>
            <a:off x="5763976" y="1720687"/>
            <a:ext cx="542332" cy="623207"/>
            <a:chOff x="328301" y="3881331"/>
            <a:chExt cx="722921" cy="623207"/>
          </a:xfrm>
        </p:grpSpPr>
        <p:sp>
          <p:nvSpPr>
            <p:cNvPr id="49" name="Hexagon 48"/>
            <p:cNvSpPr/>
            <p:nvPr/>
          </p:nvSpPr>
          <p:spPr bwMode="auto">
            <a:xfrm rot="19780699">
              <a:off x="328301" y="3881331"/>
              <a:ext cx="722921" cy="623207"/>
            </a:xfrm>
            <a:prstGeom prst="hexagon">
              <a:avLst>
                <a:gd name="adj" fmla="val 28905"/>
                <a:gd name="vf" fmla="val 115470"/>
              </a:avLst>
            </a:prstGeom>
            <a:solidFill>
              <a:srgbClr val="00B0F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298" y="4051799"/>
              <a:ext cx="314925" cy="314925"/>
            </a:xfrm>
            <a:prstGeom prst="rect">
              <a:avLst/>
            </a:prstGeom>
          </p:spPr>
        </p:pic>
      </p:grpSp>
      <p:sp>
        <p:nvSpPr>
          <p:cNvPr id="51" name="TextBox 50"/>
          <p:cNvSpPr txBox="1"/>
          <p:nvPr/>
        </p:nvSpPr>
        <p:spPr>
          <a:xfrm>
            <a:off x="2895600" y="1984481"/>
            <a:ext cx="2129289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8987">
              <a:lnSpc>
                <a:spcPct val="80000"/>
              </a:lnSpc>
              <a:spcBef>
                <a:spcPct val="20000"/>
              </a:spcBef>
              <a:buSzPct val="80000"/>
            </a:pPr>
            <a:r>
              <a:rPr lang="en-US" dirty="0" smtClean="0">
                <a:solidFill>
                  <a:schemeClr val="bg1"/>
                </a:solidFill>
                <a:latin typeface="Calibri" panose="020F0502020204030204" pitchFamily="34" charset="0"/>
              </a:rPr>
              <a:t>Microsoft Data 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</a:rPr>
              <a:t>Center</a:t>
            </a:r>
          </a:p>
        </p:txBody>
      </p:sp>
      <p:sp>
        <p:nvSpPr>
          <p:cNvPr id="5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512000"/>
          </a:xfrm>
        </p:spPr>
        <p:txBody>
          <a:bodyPr>
            <a:noAutofit/>
          </a:bodyPr>
          <a:lstStyle/>
          <a:p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+mj-cs"/>
              </a:rPr>
              <a:t>How it Works</a:t>
            </a:r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+mj-cs"/>
              </a:rPr>
              <a:t/>
            </a:r>
            <a:b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+mj-cs"/>
              </a:rPr>
            </a:br>
            <a:r>
              <a:rPr lang="en-US" sz="4400" dirty="0">
                <a:ln w="6350"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+mj-cs"/>
              </a:rPr>
              <a:t>No Lock-In</a:t>
            </a:r>
            <a:endParaRPr lang="en-US" sz="4400" dirty="0">
              <a:ln w="6350"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543610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1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14872E-7 -4.8623E-6 L 0.00091 -0.5869 " pathEditMode="relative" rAng="0" ptsTypes="AA">
                                      <p:cBhvr>
                                        <p:cTn id="55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" y="-293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24326E-7 2.27494E-6 L -0.0267 0.50196 " pathEditMode="relative" rAng="0" ptsTypes="AA">
                                      <p:cBhvr>
                                        <p:cTn id="59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41" y="250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  <p:bldP spid="18" grpId="0" animBg="1"/>
      <p:bldP spid="19" grpId="0"/>
      <p:bldP spid="20" grpId="0"/>
      <p:bldP spid="5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ATtRzhzEGfEASLaOqm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efHcPrr0WlgQ8TgC77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URfxmAC06960d2C6oW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xGrdItlk28IM1BKgbe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VsuBQaKESO3pDLox_D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eiN2v0ME6nhkNliWLD6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IEFF_4T0WppEVyI2v_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eDWAPkUquYlSaquy_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eiN2v0ME6nhkNliWLD6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eiN2v0ME6nhkNliWL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eDWAPkUquYlSaquy_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Verve">
  <a:themeElements>
    <a:clrScheme name="Verve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Ver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Verve">
      <a:fillStyleLst>
        <a:solidFill>
          <a:schemeClr val="phClr"/>
        </a:solidFill>
        <a:gradFill rotWithShape="1">
          <a:gsLst>
            <a:gs pos="0">
              <a:schemeClr val="phClr">
                <a:tint val="10000"/>
                <a:satMod val="300000"/>
              </a:schemeClr>
            </a:gs>
            <a:gs pos="34000">
              <a:schemeClr val="phClr">
                <a:tint val="13500"/>
                <a:satMod val="250000"/>
              </a:schemeClr>
            </a:gs>
            <a:gs pos="100000">
              <a:schemeClr val="phClr">
                <a:tint val="60000"/>
                <a:satMod val="200000"/>
              </a:schemeClr>
            </a:gs>
          </a:gsLst>
          <a:path path="circle">
            <a:fillToRect l="50000" t="155000" r="50000" b="-55000"/>
          </a:path>
        </a:gradFill>
        <a:gradFill rotWithShape="1">
          <a:gsLst>
            <a:gs pos="0">
              <a:schemeClr val="phClr">
                <a:tint val="60000"/>
                <a:satMod val="160000"/>
              </a:schemeClr>
            </a:gs>
            <a:gs pos="46000">
              <a:schemeClr val="phClr">
                <a:tint val="86000"/>
                <a:satMod val="160000"/>
              </a:schemeClr>
            </a:gs>
            <a:gs pos="100000">
              <a:schemeClr val="phClr">
                <a:shade val="40000"/>
                <a:satMod val="160000"/>
              </a:schemeClr>
            </a:gs>
          </a:gsLst>
          <a:path path="circle">
            <a:fillToRect l="50000" t="155000" r="50000" b="-55000"/>
          </a:path>
        </a:gradFill>
      </a:fillStyleLst>
      <a:lnStyleLst>
        <a:ln w="9525" cap="flat" cmpd="sng" algn="ctr">
          <a:solidFill>
            <a:schemeClr val="phClr">
              <a:satMod val="12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147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3600000"/>
            </a:lightRig>
          </a:scene3d>
          <a:sp3d prstMaterial="plastic">
            <a:bevelT w="127000" h="38200" prst="relaxedInset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8000"/>
                <a:satMod val="230000"/>
              </a:schemeClr>
            </a:gs>
            <a:gs pos="60000">
              <a:schemeClr val="phClr">
                <a:shade val="92000"/>
                <a:satMod val="230000"/>
              </a:schemeClr>
            </a:gs>
            <a:gs pos="100000">
              <a:schemeClr val="phClr">
                <a:tint val="85000"/>
                <a:satMod val="400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1200"/>
                <a:satMod val="150000"/>
              </a:schemeClr>
              <a:schemeClr val="phClr">
                <a:tint val="90000"/>
                <a:satMod val="150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erve</Template>
  <TotalTime>1530</TotalTime>
  <Words>1478</Words>
  <Application>Microsoft Office PowerPoint</Application>
  <PresentationFormat>On-screen Show (4:3)</PresentationFormat>
  <Paragraphs>355</Paragraphs>
  <Slides>40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2" baseType="lpstr">
      <vt:lpstr>Segoe Light</vt:lpstr>
      <vt:lpstr>Arial</vt:lpstr>
      <vt:lpstr>Calibri</vt:lpstr>
      <vt:lpstr>Century Gothic</vt:lpstr>
      <vt:lpstr>Consolas</vt:lpstr>
      <vt:lpstr>Segoe UI</vt:lpstr>
      <vt:lpstr>Segoe UI Light</vt:lpstr>
      <vt:lpstr>Verdana</vt:lpstr>
      <vt:lpstr>Wingdings</vt:lpstr>
      <vt:lpstr>Wingdings 2</vt:lpstr>
      <vt:lpstr>Verve</vt:lpstr>
      <vt:lpstr>think-cell Slide</vt:lpstr>
      <vt:lpstr>Virtual Machines and Web Sites</vt:lpstr>
      <vt:lpstr>    Agenda</vt:lpstr>
      <vt:lpstr>Key Scenarios – VMs and Cloud Services </vt:lpstr>
      <vt:lpstr>Why Use Virtual Machines for Existing Applications?</vt:lpstr>
      <vt:lpstr>PowerPoint Presentation</vt:lpstr>
      <vt:lpstr>Supported Operating Systems</vt:lpstr>
      <vt:lpstr>How it Works Select from Image Gallery</vt:lpstr>
      <vt:lpstr>How it Works Bring your own VHD</vt:lpstr>
      <vt:lpstr>How it Works No Lock-In</vt:lpstr>
      <vt:lpstr>Create a new Windows Server 2012 machine </vt:lpstr>
      <vt:lpstr>Networks</vt:lpstr>
      <vt:lpstr>Cross-premise Connectivity</vt:lpstr>
      <vt:lpstr>Does Your App Need a Virtual Network?</vt:lpstr>
      <vt:lpstr>Windows Azure Networking</vt:lpstr>
      <vt:lpstr>Windows Azure Virtual Network</vt:lpstr>
      <vt:lpstr>Identity Management</vt:lpstr>
      <vt:lpstr>      AD in the Cloud</vt:lpstr>
      <vt:lpstr>Deploying AD in a Windows Azure VM</vt:lpstr>
      <vt:lpstr>Cloud Services Configuration for AD</vt:lpstr>
      <vt:lpstr>Domain Controller in Separate Cloud Service</vt:lpstr>
      <vt:lpstr>Domain Controller On-Premises</vt:lpstr>
      <vt:lpstr>Domain Controller in the Cloud</vt:lpstr>
      <vt:lpstr>Active Directory Cloud Only</vt:lpstr>
      <vt:lpstr>Web Sites</vt:lpstr>
      <vt:lpstr>Windows Azure Web Sites</vt:lpstr>
      <vt:lpstr>Web Sites Gallery</vt:lpstr>
      <vt:lpstr>Create a new Web Site from the Gallery </vt:lpstr>
      <vt:lpstr>Development Environments </vt:lpstr>
      <vt:lpstr>Development Environments </vt:lpstr>
      <vt:lpstr>Scalability</vt:lpstr>
      <vt:lpstr>Scalability - Out</vt:lpstr>
      <vt:lpstr>Scalability – Switch Up</vt:lpstr>
      <vt:lpstr>Scalability – Out again</vt:lpstr>
      <vt:lpstr>Advantages of Cloud</vt:lpstr>
      <vt:lpstr>and the Disadvantages…</vt:lpstr>
      <vt:lpstr>Deployment Best Practices</vt:lpstr>
      <vt:lpstr>Testing</vt:lpstr>
      <vt:lpstr>Quiz</vt:lpstr>
      <vt:lpstr>Quiz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ndows Azure SQL Database</dc:title>
  <dc:creator>Vikas Sahni</dc:creator>
  <cp:lastModifiedBy>Jiang Xiao</cp:lastModifiedBy>
  <cp:revision>111</cp:revision>
  <dcterms:created xsi:type="dcterms:W3CDTF">2012-06-07T14:57:11Z</dcterms:created>
  <dcterms:modified xsi:type="dcterms:W3CDTF">2013-03-12T04:02:49Z</dcterms:modified>
</cp:coreProperties>
</file>